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0"/>
  </p:notesMasterIdLst>
  <p:sldIdLst>
    <p:sldId id="256" r:id="rId5"/>
    <p:sldId id="565" r:id="rId6"/>
    <p:sldId id="387" r:id="rId7"/>
    <p:sldId id="384" r:id="rId8"/>
    <p:sldId id="564" r:id="rId9"/>
  </p:sldIdLst>
  <p:sldSz cx="9144000" cy="5143500" type="screen16x9"/>
  <p:notesSz cx="6797675" cy="9926638"/>
  <p:custDataLst>
    <p:tags r:id="rId11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DC81B53-0314-AC16-6E16-E046973C6A6C}" name="Kristin Myraunet Hals" initials="KMH" userId="S::krismha@ntnu.no::2498d488-5f25-4c27-ab06-02ecdd67fe2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6FF"/>
    <a:srgbClr val="FF0000"/>
    <a:srgbClr val="CC99FF"/>
    <a:srgbClr val="CCECFF"/>
    <a:srgbClr val="FFFF99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6581AF-73BD-4EBF-8A87-05D0872A6373}" v="157" dt="2022-02-08T09:04:46.888"/>
    <p1510:client id="{B3C6D588-32B3-44A7-A609-C11EE7974D72}" v="706" dt="2022-02-08T09:24:43.349"/>
    <p1510:client id="{ED6EDA23-4617-1957-4ECF-39F6D7179096}" v="303" vWet="304" dt="2022-02-08T09:08:18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emastil 1 – uthev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emastil 1 – utheving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emastil 1 – utheving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ddels stil 2 – uthev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16DA210-FB5B-4158-B5E0-FEB733F419BA}" styleName="Lys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620"/>
        <p:guide pos="288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lend Holtan Lakså" userId="eaff08b7-edfc-49fd-8a4f-b1a326556099" providerId="ADAL" clId="{B0631C6C-15A4-41F3-B4CB-8882572ECA74}"/>
    <pc:docChg chg="undo custSel delSld modSld sldOrd modMainMaster replTag">
      <pc:chgData name="Erlend Holtan Lakså" userId="eaff08b7-edfc-49fd-8a4f-b1a326556099" providerId="ADAL" clId="{B0631C6C-15A4-41F3-B4CB-8882572ECA74}" dt="2022-01-26T07:50:06.624" v="6271" actId="20577"/>
      <pc:docMkLst>
        <pc:docMk/>
      </pc:docMkLst>
      <pc:sldChg chg="addSp delSp modSp del mod ord">
        <pc:chgData name="Erlend Holtan Lakså" userId="eaff08b7-edfc-49fd-8a4f-b1a326556099" providerId="ADAL" clId="{B0631C6C-15A4-41F3-B4CB-8882572ECA74}" dt="2022-01-26T07:36:05.096" v="5850" actId="47"/>
        <pc:sldMkLst>
          <pc:docMk/>
          <pc:sldMk cId="1520555166" sldId="257"/>
        </pc:sldMkLst>
        <pc:spChg chg="mod">
          <ac:chgData name="Erlend Holtan Lakså" userId="eaff08b7-edfc-49fd-8a4f-b1a326556099" providerId="ADAL" clId="{B0631C6C-15A4-41F3-B4CB-8882572ECA74}" dt="2022-01-24T13:25:39.824" v="5764"/>
          <ac:spMkLst>
            <pc:docMk/>
            <pc:sldMk cId="1520555166" sldId="257"/>
            <ac:spMk id="2" creationId="{EFE9DDDF-119C-4EFE-9353-40D502986726}"/>
          </ac:spMkLst>
        </pc:spChg>
        <pc:spChg chg="add del mod modVis">
          <ac:chgData name="Erlend Holtan Lakså" userId="eaff08b7-edfc-49fd-8a4f-b1a326556099" providerId="ADAL" clId="{B0631C6C-15A4-41F3-B4CB-8882572ECA74}" dt="2022-01-24T13:15:39.186" v="1048"/>
          <ac:spMkLst>
            <pc:docMk/>
            <pc:sldMk cId="1520555166" sldId="257"/>
            <ac:spMk id="3" creationId="{6E3B47B7-608B-438C-BC49-8F1249F5E2C2}"/>
          </ac:spMkLst>
        </pc:spChg>
        <pc:spChg chg="mod">
          <ac:chgData name="Erlend Holtan Lakså" userId="eaff08b7-edfc-49fd-8a4f-b1a326556099" providerId="ADAL" clId="{B0631C6C-15A4-41F3-B4CB-8882572ECA74}" dt="2022-01-24T13:25:39.828" v="5768"/>
          <ac:spMkLst>
            <pc:docMk/>
            <pc:sldMk cId="1520555166" sldId="257"/>
            <ac:spMk id="4" creationId="{EFE9DDDF-119C-4EFE-9353-40D502986726}"/>
          </ac:spMkLst>
        </pc:spChg>
        <pc:spChg chg="mod">
          <ac:chgData name="Erlend Holtan Lakså" userId="eaff08b7-edfc-49fd-8a4f-b1a326556099" providerId="ADAL" clId="{B0631C6C-15A4-41F3-B4CB-8882572ECA74}" dt="2022-01-24T13:25:39.829" v="5769"/>
          <ac:spMkLst>
            <pc:docMk/>
            <pc:sldMk cId="1520555166" sldId="257"/>
            <ac:spMk id="5" creationId="{EFE9DDDF-119C-4EFE-9353-40D502986726}"/>
          </ac:spMkLst>
        </pc:spChg>
        <pc:spChg chg="mod">
          <ac:chgData name="Erlend Holtan Lakså" userId="eaff08b7-edfc-49fd-8a4f-b1a326556099" providerId="ADAL" clId="{B0631C6C-15A4-41F3-B4CB-8882572ECA74}" dt="2022-01-24T13:25:39.828" v="5767"/>
          <ac:spMkLst>
            <pc:docMk/>
            <pc:sldMk cId="1520555166" sldId="257"/>
            <ac:spMk id="6" creationId="{EFE9DDDF-119C-4EFE-9353-40D502986726}"/>
          </ac:spMkLst>
        </pc:spChg>
        <pc:spChg chg="mod">
          <ac:chgData name="Erlend Holtan Lakså" userId="eaff08b7-edfc-49fd-8a4f-b1a326556099" providerId="ADAL" clId="{B0631C6C-15A4-41F3-B4CB-8882572ECA74}" dt="2022-01-24T13:25:39.829" v="5770"/>
          <ac:spMkLst>
            <pc:docMk/>
            <pc:sldMk cId="1520555166" sldId="257"/>
            <ac:spMk id="7" creationId="{EFE9DDDF-119C-4EFE-9353-40D502986726}"/>
          </ac:spMkLst>
        </pc:spChg>
        <pc:spChg chg="add del mod modVis">
          <ac:chgData name="Erlend Holtan Lakså" userId="eaff08b7-edfc-49fd-8a4f-b1a326556099" providerId="ADAL" clId="{B0631C6C-15A4-41F3-B4CB-8882572ECA74}" dt="2022-01-24T13:25:02.321" v="5522"/>
          <ac:spMkLst>
            <pc:docMk/>
            <pc:sldMk cId="1520555166" sldId="257"/>
            <ac:spMk id="8" creationId="{64B2EC02-8D7A-47EA-BF02-B56DD1B8D38B}"/>
          </ac:spMkLst>
        </pc:spChg>
        <pc:spChg chg="mod">
          <ac:chgData name="Erlend Holtan Lakså" userId="eaff08b7-edfc-49fd-8a4f-b1a326556099" providerId="ADAL" clId="{B0631C6C-15A4-41F3-B4CB-8882572ECA74}" dt="2022-01-24T13:25:39.832" v="5772"/>
          <ac:spMkLst>
            <pc:docMk/>
            <pc:sldMk cId="1520555166" sldId="257"/>
            <ac:spMk id="9" creationId="{EFE9DDDF-119C-4EFE-9353-40D502986726}"/>
          </ac:spMkLst>
        </pc:spChg>
        <pc:spChg chg="add mod ord replST">
          <ac:chgData name="Erlend Holtan Lakså" userId="eaff08b7-edfc-49fd-8a4f-b1a326556099" providerId="ADAL" clId="{B0631C6C-15A4-41F3-B4CB-8882572ECA74}" dt="2022-01-24T13:25:33.668" v="5687" actId="207"/>
          <ac:spMkLst>
            <pc:docMk/>
            <pc:sldMk cId="1520555166" sldId="257"/>
            <ac:spMk id="10" creationId="{263E6738-E31D-4CCC-858F-8C3BAD35D35A}"/>
          </ac:spMkLst>
        </pc:spChg>
        <pc:spChg chg="mod">
          <ac:chgData name="Erlend Holtan Lakså" userId="eaff08b7-edfc-49fd-8a4f-b1a326556099" providerId="ADAL" clId="{B0631C6C-15A4-41F3-B4CB-8882572ECA74}" dt="2022-01-24T13:25:39.891" v="5802"/>
          <ac:spMkLst>
            <pc:docMk/>
            <pc:sldMk cId="1520555166" sldId="257"/>
            <ac:spMk id="35" creationId="{72EB1A4E-372E-4BA1-B0AF-A9D464D9E893}"/>
          </ac:spMkLst>
        </pc:spChg>
        <pc:spChg chg="mod">
          <ac:chgData name="Erlend Holtan Lakså" userId="eaff08b7-edfc-49fd-8a4f-b1a326556099" providerId="ADAL" clId="{B0631C6C-15A4-41F3-B4CB-8882572ECA74}" dt="2022-01-24T13:25:39.891" v="5803"/>
          <ac:spMkLst>
            <pc:docMk/>
            <pc:sldMk cId="1520555166" sldId="257"/>
            <ac:spMk id="71" creationId="{1D9FA501-E7AD-45B9-9912-D4B0B77DA251}"/>
          </ac:spMkLst>
        </pc:spChg>
        <pc:spChg chg="mod">
          <ac:chgData name="Erlend Holtan Lakså" userId="eaff08b7-edfc-49fd-8a4f-b1a326556099" providerId="ADAL" clId="{B0631C6C-15A4-41F3-B4CB-8882572ECA74}" dt="2022-01-24T13:25:39.892" v="5804"/>
          <ac:spMkLst>
            <pc:docMk/>
            <pc:sldMk cId="1520555166" sldId="257"/>
            <ac:spMk id="72" creationId="{8935FC06-17A2-4A07-A0E4-47246E494AB3}"/>
          </ac:spMkLst>
        </pc:spChg>
        <pc:spChg chg="mod">
          <ac:chgData name="Erlend Holtan Lakså" userId="eaff08b7-edfc-49fd-8a4f-b1a326556099" providerId="ADAL" clId="{B0631C6C-15A4-41F3-B4CB-8882572ECA74}" dt="2022-01-24T13:25:39.893" v="5805"/>
          <ac:spMkLst>
            <pc:docMk/>
            <pc:sldMk cId="1520555166" sldId="257"/>
            <ac:spMk id="73" creationId="{90BC752F-E8FB-48BE-B02C-E97B5F57885B}"/>
          </ac:spMkLst>
        </pc:spChg>
        <pc:spChg chg="mod">
          <ac:chgData name="Erlend Holtan Lakså" userId="eaff08b7-edfc-49fd-8a4f-b1a326556099" providerId="ADAL" clId="{B0631C6C-15A4-41F3-B4CB-8882572ECA74}" dt="2022-01-24T13:25:39.894" v="5806"/>
          <ac:spMkLst>
            <pc:docMk/>
            <pc:sldMk cId="1520555166" sldId="257"/>
            <ac:spMk id="74" creationId="{F9B70383-EA03-4AC7-9D55-7AE3EA60E939}"/>
          </ac:spMkLst>
        </pc:spChg>
        <pc:spChg chg="mod">
          <ac:chgData name="Erlend Holtan Lakså" userId="eaff08b7-edfc-49fd-8a4f-b1a326556099" providerId="ADAL" clId="{B0631C6C-15A4-41F3-B4CB-8882572ECA74}" dt="2022-01-24T13:25:39.895" v="5807"/>
          <ac:spMkLst>
            <pc:docMk/>
            <pc:sldMk cId="1520555166" sldId="257"/>
            <ac:spMk id="75" creationId="{164500AA-381F-4137-B644-B79099303AE7}"/>
          </ac:spMkLst>
        </pc:spChg>
        <pc:spChg chg="mod">
          <ac:chgData name="Erlend Holtan Lakså" userId="eaff08b7-edfc-49fd-8a4f-b1a326556099" providerId="ADAL" clId="{B0631C6C-15A4-41F3-B4CB-8882572ECA74}" dt="2022-01-24T13:25:39.895" v="5808"/>
          <ac:spMkLst>
            <pc:docMk/>
            <pc:sldMk cId="1520555166" sldId="257"/>
            <ac:spMk id="76" creationId="{A8C8D024-E9D4-4CDF-A2A1-AFF6F86312A4}"/>
          </ac:spMkLst>
        </pc:spChg>
        <pc:spChg chg="mod">
          <ac:chgData name="Erlend Holtan Lakså" userId="eaff08b7-edfc-49fd-8a4f-b1a326556099" providerId="ADAL" clId="{B0631C6C-15A4-41F3-B4CB-8882572ECA74}" dt="2022-01-24T13:25:39.896" v="5809"/>
          <ac:spMkLst>
            <pc:docMk/>
            <pc:sldMk cId="1520555166" sldId="257"/>
            <ac:spMk id="77" creationId="{81C71CED-AC89-44BC-B26C-71D5861D42FE}"/>
          </ac:spMkLst>
        </pc:spChg>
        <pc:spChg chg="mod">
          <ac:chgData name="Erlend Holtan Lakså" userId="eaff08b7-edfc-49fd-8a4f-b1a326556099" providerId="ADAL" clId="{B0631C6C-15A4-41F3-B4CB-8882572ECA74}" dt="2022-01-24T13:25:39.897" v="5810"/>
          <ac:spMkLst>
            <pc:docMk/>
            <pc:sldMk cId="1520555166" sldId="257"/>
            <ac:spMk id="78" creationId="{03B662C1-64E0-4BC2-85AA-3DD1DB96E46A}"/>
          </ac:spMkLst>
        </pc:spChg>
        <pc:spChg chg="mod">
          <ac:chgData name="Erlend Holtan Lakså" userId="eaff08b7-edfc-49fd-8a4f-b1a326556099" providerId="ADAL" clId="{B0631C6C-15A4-41F3-B4CB-8882572ECA74}" dt="2022-01-24T13:25:39.898" v="5811"/>
          <ac:spMkLst>
            <pc:docMk/>
            <pc:sldMk cId="1520555166" sldId="257"/>
            <ac:spMk id="79" creationId="{8062AE51-3311-4E37-A6A2-A6D47B1E2878}"/>
          </ac:spMkLst>
        </pc:spChg>
        <pc:spChg chg="mod">
          <ac:chgData name="Erlend Holtan Lakså" userId="eaff08b7-edfc-49fd-8a4f-b1a326556099" providerId="ADAL" clId="{B0631C6C-15A4-41F3-B4CB-8882572ECA74}" dt="2022-01-24T13:25:39.899" v="5812"/>
          <ac:spMkLst>
            <pc:docMk/>
            <pc:sldMk cId="1520555166" sldId="257"/>
            <ac:spMk id="80" creationId="{DF96524B-ED78-435A-A57E-1BBEDA2B9125}"/>
          </ac:spMkLst>
        </pc:spChg>
        <pc:spChg chg="mod">
          <ac:chgData name="Erlend Holtan Lakså" userId="eaff08b7-edfc-49fd-8a4f-b1a326556099" providerId="ADAL" clId="{B0631C6C-15A4-41F3-B4CB-8882572ECA74}" dt="2022-01-24T13:25:39.902" v="5813"/>
          <ac:spMkLst>
            <pc:docMk/>
            <pc:sldMk cId="1520555166" sldId="257"/>
            <ac:spMk id="81" creationId="{82D63FA1-9D3D-443D-A3FA-DEE7D1A56E7D}"/>
          </ac:spMkLst>
        </pc:spChg>
        <pc:spChg chg="mod">
          <ac:chgData name="Erlend Holtan Lakså" userId="eaff08b7-edfc-49fd-8a4f-b1a326556099" providerId="ADAL" clId="{B0631C6C-15A4-41F3-B4CB-8882572ECA74}" dt="2022-01-24T13:25:39.888" v="5800"/>
          <ac:spMkLst>
            <pc:docMk/>
            <pc:sldMk cId="1520555166" sldId="257"/>
            <ac:spMk id="82" creationId="{EFE9DDDF-119C-4EFE-9353-40D502986726}"/>
          </ac:spMkLst>
        </pc:spChg>
        <pc:spChg chg="add mod ord replST">
          <ac:chgData name="Erlend Holtan Lakså" userId="eaff08b7-edfc-49fd-8a4f-b1a326556099" providerId="ADAL" clId="{B0631C6C-15A4-41F3-B4CB-8882572ECA74}" dt="2022-01-24T13:25:39.840" v="5780" actId="948"/>
          <ac:spMkLst>
            <pc:docMk/>
            <pc:sldMk cId="1520555166" sldId="257"/>
            <ac:spMk id="135" creationId="{9B7726DA-ADAD-41AD-83BF-39F2FEFED38A}"/>
          </ac:spMkLst>
        </pc:spChg>
        <pc:spChg chg="mod ord">
          <ac:chgData name="Erlend Holtan Lakså" userId="eaff08b7-edfc-49fd-8a4f-b1a326556099" providerId="ADAL" clId="{B0631C6C-15A4-41F3-B4CB-8882572ECA74}" dt="2022-01-24T13:25:02.278" v="5388"/>
          <ac:spMkLst>
            <pc:docMk/>
            <pc:sldMk cId="1520555166" sldId="257"/>
            <ac:spMk id="145" creationId="{E3B75B50-594E-40C1-AAE2-C1CCBFFF93DD}"/>
          </ac:spMkLst>
        </pc:spChg>
        <pc:spChg chg="mod ord">
          <ac:chgData name="Erlend Holtan Lakså" userId="eaff08b7-edfc-49fd-8a4f-b1a326556099" providerId="ADAL" clId="{B0631C6C-15A4-41F3-B4CB-8882572ECA74}" dt="2022-01-24T13:25:39.842" v="5785" actId="948"/>
          <ac:spMkLst>
            <pc:docMk/>
            <pc:sldMk cId="1520555166" sldId="257"/>
            <ac:spMk id="146" creationId="{EFE9DDDF-119C-4EFE-9353-40D502986726}"/>
          </ac:spMkLst>
        </pc:spChg>
        <pc:spChg chg="mod ord">
          <ac:chgData name="Erlend Holtan Lakså" userId="eaff08b7-edfc-49fd-8a4f-b1a326556099" providerId="ADAL" clId="{B0631C6C-15A4-41F3-B4CB-8882572ECA74}" dt="2022-01-24T13:25:02.292" v="5442"/>
          <ac:spMkLst>
            <pc:docMk/>
            <pc:sldMk cId="1520555166" sldId="257"/>
            <ac:spMk id="148" creationId="{F19D8D7D-CE19-459E-970D-E7B9A435C5A7}"/>
          </ac:spMkLst>
        </pc:spChg>
        <pc:spChg chg="mod ord">
          <ac:chgData name="Erlend Holtan Lakså" userId="eaff08b7-edfc-49fd-8a4f-b1a326556099" providerId="ADAL" clId="{B0631C6C-15A4-41F3-B4CB-8882572ECA74}" dt="2022-01-24T13:25:02.268" v="5372"/>
          <ac:spMkLst>
            <pc:docMk/>
            <pc:sldMk cId="1520555166" sldId="257"/>
            <ac:spMk id="149" creationId="{2A455DDD-CB4F-4FC4-B784-27AB1510E476}"/>
          </ac:spMkLst>
        </pc:spChg>
        <pc:spChg chg="mod ord">
          <ac:chgData name="Erlend Holtan Lakså" userId="eaff08b7-edfc-49fd-8a4f-b1a326556099" providerId="ADAL" clId="{B0631C6C-15A4-41F3-B4CB-8882572ECA74}" dt="2022-01-24T13:25:39.842" v="5786" actId="948"/>
          <ac:spMkLst>
            <pc:docMk/>
            <pc:sldMk cId="1520555166" sldId="257"/>
            <ac:spMk id="150" creationId="{F8BC4639-C442-4508-B340-C23567952E4A}"/>
          </ac:spMkLst>
        </pc:spChg>
        <pc:spChg chg="mod ord">
          <ac:chgData name="Erlend Holtan Lakså" userId="eaff08b7-edfc-49fd-8a4f-b1a326556099" providerId="ADAL" clId="{B0631C6C-15A4-41F3-B4CB-8882572ECA74}" dt="2022-01-24T13:25:02.289" v="5428"/>
          <ac:spMkLst>
            <pc:docMk/>
            <pc:sldMk cId="1520555166" sldId="257"/>
            <ac:spMk id="152" creationId="{3E96115F-875D-4940-8229-3167E355FDA5}"/>
          </ac:spMkLst>
        </pc:spChg>
        <pc:spChg chg="mod ord">
          <ac:chgData name="Erlend Holtan Lakså" userId="eaff08b7-edfc-49fd-8a4f-b1a326556099" providerId="ADAL" clId="{B0631C6C-15A4-41F3-B4CB-8882572ECA74}" dt="2022-01-24T13:25:02.266" v="5364"/>
          <ac:spMkLst>
            <pc:docMk/>
            <pc:sldMk cId="1520555166" sldId="257"/>
            <ac:spMk id="153" creationId="{C7BF94D1-F3C1-43D2-8E61-084EFBF32106}"/>
          </ac:spMkLst>
        </pc:spChg>
        <pc:spChg chg="mod ord">
          <ac:chgData name="Erlend Holtan Lakså" userId="eaff08b7-edfc-49fd-8a4f-b1a326556099" providerId="ADAL" clId="{B0631C6C-15A4-41F3-B4CB-8882572ECA74}" dt="2022-01-24T13:25:02.264" v="5358"/>
          <ac:spMkLst>
            <pc:docMk/>
            <pc:sldMk cId="1520555166" sldId="257"/>
            <ac:spMk id="157" creationId="{3F1CC31A-D7FC-4E54-915A-DED4D18F818A}"/>
          </ac:spMkLst>
        </pc:spChg>
        <pc:spChg chg="mod ord">
          <ac:chgData name="Erlend Holtan Lakså" userId="eaff08b7-edfc-49fd-8a4f-b1a326556099" providerId="ADAL" clId="{B0631C6C-15A4-41F3-B4CB-8882572ECA74}" dt="2022-01-24T13:25:02.262" v="5352"/>
          <ac:spMkLst>
            <pc:docMk/>
            <pc:sldMk cId="1520555166" sldId="257"/>
            <ac:spMk id="158" creationId="{2C91FB7A-D30B-415E-84F3-43D97319D64F}"/>
          </ac:spMkLst>
        </pc:spChg>
        <pc:spChg chg="mod ord">
          <ac:chgData name="Erlend Holtan Lakså" userId="eaff08b7-edfc-49fd-8a4f-b1a326556099" providerId="ADAL" clId="{B0631C6C-15A4-41F3-B4CB-8882572ECA74}" dt="2022-01-24T13:25:02.261" v="5350"/>
          <ac:spMkLst>
            <pc:docMk/>
            <pc:sldMk cId="1520555166" sldId="257"/>
            <ac:spMk id="159" creationId="{52DF5186-E81B-4F9F-9910-BBD8EC952B88}"/>
          </ac:spMkLst>
        </pc:spChg>
        <pc:spChg chg="mod ord">
          <ac:chgData name="Erlend Holtan Lakså" userId="eaff08b7-edfc-49fd-8a4f-b1a326556099" providerId="ADAL" clId="{B0631C6C-15A4-41F3-B4CB-8882572ECA74}" dt="2022-01-24T13:25:02.261" v="5348"/>
          <ac:spMkLst>
            <pc:docMk/>
            <pc:sldMk cId="1520555166" sldId="257"/>
            <ac:spMk id="160" creationId="{1E822EB1-3D56-41BB-B7B8-0DDBCD79FB43}"/>
          </ac:spMkLst>
        </pc:spChg>
        <pc:spChg chg="mod ord">
          <ac:chgData name="Erlend Holtan Lakså" userId="eaff08b7-edfc-49fd-8a4f-b1a326556099" providerId="ADAL" clId="{B0631C6C-15A4-41F3-B4CB-8882572ECA74}" dt="2022-01-24T13:25:02.261" v="5346"/>
          <ac:spMkLst>
            <pc:docMk/>
            <pc:sldMk cId="1520555166" sldId="257"/>
            <ac:spMk id="161" creationId="{32D0FC5D-F5A0-42BA-98B4-F76C058BA41A}"/>
          </ac:spMkLst>
        </pc:spChg>
        <pc:spChg chg="mod ord">
          <ac:chgData name="Erlend Holtan Lakså" userId="eaff08b7-edfc-49fd-8a4f-b1a326556099" providerId="ADAL" clId="{B0631C6C-15A4-41F3-B4CB-8882572ECA74}" dt="2022-01-24T13:25:02.260" v="5344"/>
          <ac:spMkLst>
            <pc:docMk/>
            <pc:sldMk cId="1520555166" sldId="257"/>
            <ac:spMk id="164" creationId="{B8D6F55D-6211-4FB3-847E-EC004A76AAD9}"/>
          </ac:spMkLst>
        </pc:spChg>
        <pc:spChg chg="mod ord">
          <ac:chgData name="Erlend Holtan Lakså" userId="eaff08b7-edfc-49fd-8a4f-b1a326556099" providerId="ADAL" clId="{B0631C6C-15A4-41F3-B4CB-8882572ECA74}" dt="2022-01-24T13:25:02.260" v="5342"/>
          <ac:spMkLst>
            <pc:docMk/>
            <pc:sldMk cId="1520555166" sldId="257"/>
            <ac:spMk id="165" creationId="{4AC7885D-D650-4B6A-A354-DF0AE96B224A}"/>
          </ac:spMkLst>
        </pc:spChg>
        <pc:spChg chg="mod ord">
          <ac:chgData name="Erlend Holtan Lakså" userId="eaff08b7-edfc-49fd-8a4f-b1a326556099" providerId="ADAL" clId="{B0631C6C-15A4-41F3-B4CB-8882572ECA74}" dt="2022-01-24T13:25:02.259" v="5340"/>
          <ac:spMkLst>
            <pc:docMk/>
            <pc:sldMk cId="1520555166" sldId="257"/>
            <ac:spMk id="166" creationId="{C130167C-19C5-4A69-A32B-733AB6181139}"/>
          </ac:spMkLst>
        </pc:spChg>
        <pc:spChg chg="mod ord">
          <ac:chgData name="Erlend Holtan Lakså" userId="eaff08b7-edfc-49fd-8a4f-b1a326556099" providerId="ADAL" clId="{B0631C6C-15A4-41F3-B4CB-8882572ECA74}" dt="2022-01-24T13:25:02.277" v="5384"/>
          <ac:spMkLst>
            <pc:docMk/>
            <pc:sldMk cId="1520555166" sldId="257"/>
            <ac:spMk id="167" creationId="{F323B7EB-90FA-49B6-B1FD-087BCE0BDCF7}"/>
          </ac:spMkLst>
        </pc:spChg>
        <pc:spChg chg="mod ord">
          <ac:chgData name="Erlend Holtan Lakså" userId="eaff08b7-edfc-49fd-8a4f-b1a326556099" providerId="ADAL" clId="{B0631C6C-15A4-41F3-B4CB-8882572ECA74}" dt="2022-01-24T13:25:39.847" v="5797" actId="948"/>
          <ac:spMkLst>
            <pc:docMk/>
            <pc:sldMk cId="1520555166" sldId="257"/>
            <ac:spMk id="168" creationId="{EFE9DDDF-119C-4EFE-9353-40D502986726}"/>
          </ac:spMkLst>
        </pc:spChg>
        <pc:spChg chg="mod ord">
          <ac:chgData name="Erlend Holtan Lakså" userId="eaff08b7-edfc-49fd-8a4f-b1a326556099" providerId="ADAL" clId="{B0631C6C-15A4-41F3-B4CB-8882572ECA74}" dt="2022-01-24T13:25:02.280" v="5396"/>
          <ac:spMkLst>
            <pc:docMk/>
            <pc:sldMk cId="1520555166" sldId="257"/>
            <ac:spMk id="170" creationId="{E5276494-6AA5-4AE8-AB4A-EC596998ABA3}"/>
          </ac:spMkLst>
        </pc:spChg>
        <pc:spChg chg="mod ord">
          <ac:chgData name="Erlend Holtan Lakså" userId="eaff08b7-edfc-49fd-8a4f-b1a326556099" providerId="ADAL" clId="{B0631C6C-15A4-41F3-B4CB-8882572ECA74}" dt="2022-01-24T13:25:02.267" v="5368"/>
          <ac:spMkLst>
            <pc:docMk/>
            <pc:sldMk cId="1520555166" sldId="257"/>
            <ac:spMk id="171" creationId="{2BF67116-CAFD-4C42-A071-DB4043BC0CFB}"/>
          </ac:spMkLst>
        </pc:spChg>
        <pc:spChg chg="mod ord">
          <ac:chgData name="Erlend Holtan Lakså" userId="eaff08b7-edfc-49fd-8a4f-b1a326556099" providerId="ADAL" clId="{B0631C6C-15A4-41F3-B4CB-8882572ECA74}" dt="2022-01-24T13:25:02.265" v="5362"/>
          <ac:spMkLst>
            <pc:docMk/>
            <pc:sldMk cId="1520555166" sldId="257"/>
            <ac:spMk id="172" creationId="{5F653B65-6246-492B-A3F2-58EF85E8B517}"/>
          </ac:spMkLst>
        </pc:spChg>
        <pc:spChg chg="mod ord">
          <ac:chgData name="Erlend Holtan Lakså" userId="eaff08b7-edfc-49fd-8a4f-b1a326556099" providerId="ADAL" clId="{B0631C6C-15A4-41F3-B4CB-8882572ECA74}" dt="2022-01-24T13:25:02.266" v="5366"/>
          <ac:spMkLst>
            <pc:docMk/>
            <pc:sldMk cId="1520555166" sldId="257"/>
            <ac:spMk id="173" creationId="{D9322B9E-83BB-4221-9736-E44F64C68BA2}"/>
          </ac:spMkLst>
        </pc:spChg>
        <pc:spChg chg="mod ord">
          <ac:chgData name="Erlend Holtan Lakså" userId="eaff08b7-edfc-49fd-8a4f-b1a326556099" providerId="ADAL" clId="{B0631C6C-15A4-41F3-B4CB-8882572ECA74}" dt="2022-01-24T13:25:02.278" v="5390"/>
          <ac:spMkLst>
            <pc:docMk/>
            <pc:sldMk cId="1520555166" sldId="257"/>
            <ac:spMk id="174" creationId="{1BF8544C-2A1D-427A-9329-44A8E7D8F70F}"/>
          </ac:spMkLst>
        </pc:spChg>
        <pc:spChg chg="mod ord">
          <ac:chgData name="Erlend Holtan Lakså" userId="eaff08b7-edfc-49fd-8a4f-b1a326556099" providerId="ADAL" clId="{B0631C6C-15A4-41F3-B4CB-8882572ECA74}" dt="2022-01-24T13:25:39.843" v="5789" actId="948"/>
          <ac:spMkLst>
            <pc:docMk/>
            <pc:sldMk cId="1520555166" sldId="257"/>
            <ac:spMk id="175" creationId="{097E0319-83EF-4E18-ABBF-A81F60C63260}"/>
          </ac:spMkLst>
        </pc:spChg>
        <pc:spChg chg="mod ord">
          <ac:chgData name="Erlend Holtan Lakså" userId="eaff08b7-edfc-49fd-8a4f-b1a326556099" providerId="ADAL" clId="{B0631C6C-15A4-41F3-B4CB-8882572ECA74}" dt="2022-01-24T13:25:02.288" v="5424"/>
          <ac:spMkLst>
            <pc:docMk/>
            <pc:sldMk cId="1520555166" sldId="257"/>
            <ac:spMk id="177" creationId="{611E13E8-16A2-4F02-85BC-12C29869FAE8}"/>
          </ac:spMkLst>
        </pc:spChg>
        <pc:spChg chg="mod ord">
          <ac:chgData name="Erlend Holtan Lakså" userId="eaff08b7-edfc-49fd-8a4f-b1a326556099" providerId="ADAL" clId="{B0631C6C-15A4-41F3-B4CB-8882572ECA74}" dt="2022-01-24T13:25:39.844" v="5790" actId="948"/>
          <ac:spMkLst>
            <pc:docMk/>
            <pc:sldMk cId="1520555166" sldId="257"/>
            <ac:spMk id="178" creationId="{867E8475-5EE4-43E6-99EB-E4F73A987E45}"/>
          </ac:spMkLst>
        </pc:spChg>
        <pc:spChg chg="mod ord">
          <ac:chgData name="Erlend Holtan Lakså" userId="eaff08b7-edfc-49fd-8a4f-b1a326556099" providerId="ADAL" clId="{B0631C6C-15A4-41F3-B4CB-8882572ECA74}" dt="2022-01-24T13:25:02.284" v="5412"/>
          <ac:spMkLst>
            <pc:docMk/>
            <pc:sldMk cId="1520555166" sldId="257"/>
            <ac:spMk id="180" creationId="{17389E86-4BB1-478E-8882-0A644F5239E1}"/>
          </ac:spMkLst>
        </pc:spChg>
        <pc:spChg chg="mod ord">
          <ac:chgData name="Erlend Holtan Lakså" userId="eaff08b7-edfc-49fd-8a4f-b1a326556099" providerId="ADAL" clId="{B0631C6C-15A4-41F3-B4CB-8882572ECA74}" dt="2022-01-24T13:25:39.846" v="5795" actId="948"/>
          <ac:spMkLst>
            <pc:docMk/>
            <pc:sldMk cId="1520555166" sldId="257"/>
            <ac:spMk id="181" creationId="{D66D53D7-FA72-4C86-91F6-E92889560931}"/>
          </ac:spMkLst>
        </pc:spChg>
        <pc:spChg chg="mod ord">
          <ac:chgData name="Erlend Holtan Lakså" userId="eaff08b7-edfc-49fd-8a4f-b1a326556099" providerId="ADAL" clId="{B0631C6C-15A4-41F3-B4CB-8882572ECA74}" dt="2022-01-24T13:25:02.282" v="5406"/>
          <ac:spMkLst>
            <pc:docMk/>
            <pc:sldMk cId="1520555166" sldId="257"/>
            <ac:spMk id="183" creationId="{3790AEC1-92EE-4AB5-812F-3C80D398C522}"/>
          </ac:spMkLst>
        </pc:spChg>
        <pc:spChg chg="mod ord">
          <ac:chgData name="Erlend Holtan Lakså" userId="eaff08b7-edfc-49fd-8a4f-b1a326556099" providerId="ADAL" clId="{B0631C6C-15A4-41F3-B4CB-8882572ECA74}" dt="2022-01-24T13:25:39.846" v="5796" actId="948"/>
          <ac:spMkLst>
            <pc:docMk/>
            <pc:sldMk cId="1520555166" sldId="257"/>
            <ac:spMk id="184" creationId="{CA0CD894-04F3-4B52-A8D5-64A54D6FA5DC}"/>
          </ac:spMkLst>
        </pc:spChg>
        <pc:spChg chg="mod ord">
          <ac:chgData name="Erlend Holtan Lakså" userId="eaff08b7-edfc-49fd-8a4f-b1a326556099" providerId="ADAL" clId="{B0631C6C-15A4-41F3-B4CB-8882572ECA74}" dt="2022-01-24T13:25:02.280" v="5398"/>
          <ac:spMkLst>
            <pc:docMk/>
            <pc:sldMk cId="1520555166" sldId="257"/>
            <ac:spMk id="186" creationId="{5C25949B-F58A-4E2F-B770-82D6042DFB23}"/>
          </ac:spMkLst>
        </pc:spChg>
        <pc:spChg chg="mod ord">
          <ac:chgData name="Erlend Holtan Lakså" userId="eaff08b7-edfc-49fd-8a4f-b1a326556099" providerId="ADAL" clId="{B0631C6C-15A4-41F3-B4CB-8882572ECA74}" dt="2022-01-24T13:25:39.840" v="5781" actId="948"/>
          <ac:spMkLst>
            <pc:docMk/>
            <pc:sldMk cId="1520555166" sldId="257"/>
            <ac:spMk id="187" creationId="{1AEA0E9D-0627-4F3D-BA59-33C74054EE0A}"/>
          </ac:spMkLst>
        </pc:spChg>
        <pc:spChg chg="mod ord">
          <ac:chgData name="Erlend Holtan Lakså" userId="eaff08b7-edfc-49fd-8a4f-b1a326556099" providerId="ADAL" clId="{B0631C6C-15A4-41F3-B4CB-8882572ECA74}" dt="2022-01-24T13:25:02.290" v="5434"/>
          <ac:spMkLst>
            <pc:docMk/>
            <pc:sldMk cId="1520555166" sldId="257"/>
            <ac:spMk id="189" creationId="{41437C80-4D8E-46A9-9B7F-BF9BCE84B217}"/>
          </ac:spMkLst>
        </pc:spChg>
        <pc:spChg chg="mod ord">
          <ac:chgData name="Erlend Holtan Lakså" userId="eaff08b7-edfc-49fd-8a4f-b1a326556099" providerId="ADAL" clId="{B0631C6C-15A4-41F3-B4CB-8882572ECA74}" dt="2022-01-24T13:25:39.841" v="5783" actId="948"/>
          <ac:spMkLst>
            <pc:docMk/>
            <pc:sldMk cId="1520555166" sldId="257"/>
            <ac:spMk id="190" creationId="{CCB0FC71-4E4B-432A-B2C6-B0F956489B48}"/>
          </ac:spMkLst>
        </pc:spChg>
        <pc:spChg chg="mod ord">
          <ac:chgData name="Erlend Holtan Lakså" userId="eaff08b7-edfc-49fd-8a4f-b1a326556099" providerId="ADAL" clId="{B0631C6C-15A4-41F3-B4CB-8882572ECA74}" dt="2022-01-24T13:25:02.287" v="5418"/>
          <ac:spMkLst>
            <pc:docMk/>
            <pc:sldMk cId="1520555166" sldId="257"/>
            <ac:spMk id="192" creationId="{37616534-92E5-4071-90A5-2833F8266DBF}"/>
          </ac:spMkLst>
        </pc:spChg>
        <pc:spChg chg="mod ord">
          <ac:chgData name="Erlend Holtan Lakså" userId="eaff08b7-edfc-49fd-8a4f-b1a326556099" providerId="ADAL" clId="{B0631C6C-15A4-41F3-B4CB-8882572ECA74}" dt="2022-01-24T13:25:39.845" v="5792" actId="948"/>
          <ac:spMkLst>
            <pc:docMk/>
            <pc:sldMk cId="1520555166" sldId="257"/>
            <ac:spMk id="193" creationId="{42E5B9A8-57B1-4516-B0D8-867D25A23FA8}"/>
          </ac:spMkLst>
        </pc:spChg>
        <pc:spChg chg="mod ord">
          <ac:chgData name="Erlend Holtan Lakså" userId="eaff08b7-edfc-49fd-8a4f-b1a326556099" providerId="ADAL" clId="{B0631C6C-15A4-41F3-B4CB-8882572ECA74}" dt="2022-01-24T13:25:02.291" v="5436"/>
          <ac:spMkLst>
            <pc:docMk/>
            <pc:sldMk cId="1520555166" sldId="257"/>
            <ac:spMk id="195" creationId="{1F5A5D1E-32CF-4B18-BE18-40A3D4144A2B}"/>
          </ac:spMkLst>
        </pc:spChg>
        <pc:spChg chg="mod">
          <ac:chgData name="Erlend Holtan Lakså" userId="eaff08b7-edfc-49fd-8a4f-b1a326556099" providerId="ADAL" clId="{B0631C6C-15A4-41F3-B4CB-8882572ECA74}" dt="2022-01-24T13:25:39.904" v="5814"/>
          <ac:spMkLst>
            <pc:docMk/>
            <pc:sldMk cId="1520555166" sldId="257"/>
            <ac:spMk id="196" creationId="{FB71EBFF-9A81-45E7-BA6D-AF03BD63FED1}"/>
          </ac:spMkLst>
        </pc:spChg>
        <pc:spChg chg="mod">
          <ac:chgData name="Erlend Holtan Lakså" userId="eaff08b7-edfc-49fd-8a4f-b1a326556099" providerId="ADAL" clId="{B0631C6C-15A4-41F3-B4CB-8882572ECA74}" dt="2022-01-24T13:25:39.890" v="5801"/>
          <ac:spMkLst>
            <pc:docMk/>
            <pc:sldMk cId="1520555166" sldId="257"/>
            <ac:spMk id="198" creationId="{9E024080-2A8A-4494-BCC3-78D09315588E}"/>
          </ac:spMkLst>
        </pc:spChg>
        <pc:spChg chg="mod ord">
          <ac:chgData name="Erlend Holtan Lakså" userId="eaff08b7-edfc-49fd-8a4f-b1a326556099" providerId="ADAL" clId="{B0631C6C-15A4-41F3-B4CB-8882572ECA74}" dt="2022-01-24T13:25:39.847" v="5798" actId="948"/>
          <ac:spMkLst>
            <pc:docMk/>
            <pc:sldMk cId="1520555166" sldId="257"/>
            <ac:spMk id="200" creationId="{E0EE8536-B787-4F65-A120-F9D48EDDECAC}"/>
          </ac:spMkLst>
        </pc:spChg>
        <pc:spChg chg="mod ord">
          <ac:chgData name="Erlend Holtan Lakså" userId="eaff08b7-edfc-49fd-8a4f-b1a326556099" providerId="ADAL" clId="{B0631C6C-15A4-41F3-B4CB-8882572ECA74}" dt="2022-01-24T13:25:02.279" v="5394"/>
          <ac:spMkLst>
            <pc:docMk/>
            <pc:sldMk cId="1520555166" sldId="257"/>
            <ac:spMk id="202" creationId="{486816A2-1DB6-4ACB-98D1-5A50294BDC58}"/>
          </ac:spMkLst>
        </pc:spChg>
        <pc:spChg chg="mod">
          <ac:chgData name="Erlend Holtan Lakså" userId="eaff08b7-edfc-49fd-8a4f-b1a326556099" providerId="ADAL" clId="{B0631C6C-15A4-41F3-B4CB-8882572ECA74}" dt="2022-01-24T13:25:02.243" v="5285"/>
          <ac:spMkLst>
            <pc:docMk/>
            <pc:sldMk cId="1520555166" sldId="257"/>
            <ac:spMk id="211" creationId="{06E5952C-F9F1-4D19-B864-526CC6A52C2A}"/>
          </ac:spMkLst>
        </pc:spChg>
        <pc:spChg chg="mod">
          <ac:chgData name="Erlend Holtan Lakså" userId="eaff08b7-edfc-49fd-8a4f-b1a326556099" providerId="ADAL" clId="{B0631C6C-15A4-41F3-B4CB-8882572ECA74}" dt="2022-01-24T13:25:02.242" v="5284"/>
          <ac:spMkLst>
            <pc:docMk/>
            <pc:sldMk cId="1520555166" sldId="257"/>
            <ac:spMk id="212" creationId="{C4307115-EA74-4428-8C8F-136D65475708}"/>
          </ac:spMkLst>
        </pc:spChg>
        <pc:spChg chg="mod ord">
          <ac:chgData name="Erlend Holtan Lakså" userId="eaff08b7-edfc-49fd-8a4f-b1a326556099" providerId="ADAL" clId="{B0631C6C-15A4-41F3-B4CB-8882572ECA74}" dt="2022-01-24T13:25:02.274" v="5376"/>
          <ac:spMkLst>
            <pc:docMk/>
            <pc:sldMk cId="1520555166" sldId="257"/>
            <ac:spMk id="215" creationId="{E8F8F242-9650-47FC-BBF4-A598BEE1F00B}"/>
          </ac:spMkLst>
        </pc:spChg>
        <pc:spChg chg="mod ord">
          <ac:chgData name="Erlend Holtan Lakså" userId="eaff08b7-edfc-49fd-8a4f-b1a326556099" providerId="ADAL" clId="{B0631C6C-15A4-41F3-B4CB-8882572ECA74}" dt="2022-01-24T13:25:02.265" v="5360"/>
          <ac:spMkLst>
            <pc:docMk/>
            <pc:sldMk cId="1520555166" sldId="257"/>
            <ac:spMk id="216" creationId="{17ABBE7F-066E-4CB2-85FE-7BB0A1082A61}"/>
          </ac:spMkLst>
        </pc:spChg>
        <pc:spChg chg="mod ord">
          <ac:chgData name="Erlend Holtan Lakså" userId="eaff08b7-edfc-49fd-8a4f-b1a326556099" providerId="ADAL" clId="{B0631C6C-15A4-41F3-B4CB-8882572ECA74}" dt="2022-01-24T13:25:02.263" v="5354"/>
          <ac:spMkLst>
            <pc:docMk/>
            <pc:sldMk cId="1520555166" sldId="257"/>
            <ac:spMk id="217" creationId="{E68F89D2-AFB0-4740-9683-B18F984DE134}"/>
          </ac:spMkLst>
        </pc:spChg>
        <pc:spChg chg="mod ord">
          <ac:chgData name="Erlend Holtan Lakså" userId="eaff08b7-edfc-49fd-8a4f-b1a326556099" providerId="ADAL" clId="{B0631C6C-15A4-41F3-B4CB-8882572ECA74}" dt="2022-01-24T13:25:39.840" v="5782" actId="948"/>
          <ac:spMkLst>
            <pc:docMk/>
            <pc:sldMk cId="1520555166" sldId="257"/>
            <ac:spMk id="218" creationId="{932B7BBB-95D0-4726-89EB-DF91FFFD852F}"/>
          </ac:spMkLst>
        </pc:spChg>
        <pc:spChg chg="mod ord">
          <ac:chgData name="Erlend Holtan Lakså" userId="eaff08b7-edfc-49fd-8a4f-b1a326556099" providerId="ADAL" clId="{B0631C6C-15A4-41F3-B4CB-8882572ECA74}" dt="2022-01-24T13:25:02.290" v="5432"/>
          <ac:spMkLst>
            <pc:docMk/>
            <pc:sldMk cId="1520555166" sldId="257"/>
            <ac:spMk id="220" creationId="{E8BBAA58-3BFC-4BB1-BD07-1670CA315E10}"/>
          </ac:spMkLst>
        </pc:spChg>
        <pc:spChg chg="mod ord">
          <ac:chgData name="Erlend Holtan Lakså" userId="eaff08b7-edfc-49fd-8a4f-b1a326556099" providerId="ADAL" clId="{B0631C6C-15A4-41F3-B4CB-8882572ECA74}" dt="2022-01-24T13:25:39.841" v="5784" actId="948"/>
          <ac:spMkLst>
            <pc:docMk/>
            <pc:sldMk cId="1520555166" sldId="257"/>
            <ac:spMk id="221" creationId="{F09282B9-93F6-49DD-849C-A979D4B9E1ED}"/>
          </ac:spMkLst>
        </pc:spChg>
        <pc:spChg chg="mod ord">
          <ac:chgData name="Erlend Holtan Lakså" userId="eaff08b7-edfc-49fd-8a4f-b1a326556099" providerId="ADAL" clId="{B0631C6C-15A4-41F3-B4CB-8882572ECA74}" dt="2022-01-24T13:25:02.283" v="5408"/>
          <ac:spMkLst>
            <pc:docMk/>
            <pc:sldMk cId="1520555166" sldId="257"/>
            <ac:spMk id="223" creationId="{3CC80B2C-3755-4ECE-80CF-19AF49A722D0}"/>
          </ac:spMkLst>
        </pc:spChg>
        <pc:spChg chg="mod ord">
          <ac:chgData name="Erlend Holtan Lakså" userId="eaff08b7-edfc-49fd-8a4f-b1a326556099" providerId="ADAL" clId="{B0631C6C-15A4-41F3-B4CB-8882572ECA74}" dt="2022-01-24T13:25:39.845" v="5793" actId="948"/>
          <ac:spMkLst>
            <pc:docMk/>
            <pc:sldMk cId="1520555166" sldId="257"/>
            <ac:spMk id="224" creationId="{AF74F02E-6DA4-4FDB-8BF0-384E46168491}"/>
          </ac:spMkLst>
        </pc:spChg>
        <pc:spChg chg="mod ord">
          <ac:chgData name="Erlend Holtan Lakså" userId="eaff08b7-edfc-49fd-8a4f-b1a326556099" providerId="ADAL" clId="{B0631C6C-15A4-41F3-B4CB-8882572ECA74}" dt="2022-01-24T13:25:02.288" v="5426"/>
          <ac:spMkLst>
            <pc:docMk/>
            <pc:sldMk cId="1520555166" sldId="257"/>
            <ac:spMk id="226" creationId="{76896291-C9F7-420F-A992-D962A8B0E13A}"/>
          </ac:spMkLst>
        </pc:spChg>
        <pc:spChg chg="mod ord">
          <ac:chgData name="Erlend Holtan Lakså" userId="eaff08b7-edfc-49fd-8a4f-b1a326556099" providerId="ADAL" clId="{B0631C6C-15A4-41F3-B4CB-8882572ECA74}" dt="2022-01-24T13:25:39.845" v="5794" actId="948"/>
          <ac:spMkLst>
            <pc:docMk/>
            <pc:sldMk cId="1520555166" sldId="257"/>
            <ac:spMk id="232" creationId="{0C53A1BE-75DB-469E-B985-4B979DB75178}"/>
          </ac:spMkLst>
        </pc:spChg>
        <pc:spChg chg="mod ord">
          <ac:chgData name="Erlend Holtan Lakså" userId="eaff08b7-edfc-49fd-8a4f-b1a326556099" providerId="ADAL" clId="{B0631C6C-15A4-41F3-B4CB-8882572ECA74}" dt="2022-01-24T13:25:02.285" v="5414"/>
          <ac:spMkLst>
            <pc:docMk/>
            <pc:sldMk cId="1520555166" sldId="257"/>
            <ac:spMk id="234" creationId="{08E38742-031A-45CF-88E1-E3052AF0A471}"/>
          </ac:spMkLst>
        </pc:spChg>
        <pc:spChg chg="mod ord">
          <ac:chgData name="Erlend Holtan Lakså" userId="eaff08b7-edfc-49fd-8a4f-b1a326556099" providerId="ADAL" clId="{B0631C6C-15A4-41F3-B4CB-8882572ECA74}" dt="2022-01-24T13:25:39.836" v="5774" actId="948"/>
          <ac:spMkLst>
            <pc:docMk/>
            <pc:sldMk cId="1520555166" sldId="257"/>
            <ac:spMk id="235" creationId="{AB350EBD-8E8F-46F2-BFE3-39B9490DEC2F}"/>
          </ac:spMkLst>
        </pc:spChg>
        <pc:spChg chg="mod ord">
          <ac:chgData name="Erlend Holtan Lakså" userId="eaff08b7-edfc-49fd-8a4f-b1a326556099" providerId="ADAL" clId="{B0631C6C-15A4-41F3-B4CB-8882572ECA74}" dt="2022-01-24T13:25:02.288" v="5422"/>
          <ac:spMkLst>
            <pc:docMk/>
            <pc:sldMk cId="1520555166" sldId="257"/>
            <ac:spMk id="237" creationId="{91B8A1BB-EDD8-4282-B03D-B8E98404E6A9}"/>
          </ac:spMkLst>
        </pc:spChg>
        <pc:spChg chg="mod ord">
          <ac:chgData name="Erlend Holtan Lakså" userId="eaff08b7-edfc-49fd-8a4f-b1a326556099" providerId="ADAL" clId="{B0631C6C-15A4-41F3-B4CB-8882572ECA74}" dt="2022-01-24T13:25:39.838" v="5776" actId="948"/>
          <ac:spMkLst>
            <pc:docMk/>
            <pc:sldMk cId="1520555166" sldId="257"/>
            <ac:spMk id="238" creationId="{B1E6757A-9C8F-4D8E-94A6-B5F848ABD084}"/>
          </ac:spMkLst>
        </pc:spChg>
        <pc:spChg chg="mod ord">
          <ac:chgData name="Erlend Holtan Lakså" userId="eaff08b7-edfc-49fd-8a4f-b1a326556099" providerId="ADAL" clId="{B0631C6C-15A4-41F3-B4CB-8882572ECA74}" dt="2022-01-24T13:25:02.281" v="5402"/>
          <ac:spMkLst>
            <pc:docMk/>
            <pc:sldMk cId="1520555166" sldId="257"/>
            <ac:spMk id="240" creationId="{22D89B7A-6919-46A3-AF88-2C614C94C91C}"/>
          </ac:spMkLst>
        </pc:spChg>
        <pc:spChg chg="mod">
          <ac:chgData name="Erlend Holtan Lakså" userId="eaff08b7-edfc-49fd-8a4f-b1a326556099" providerId="ADAL" clId="{B0631C6C-15A4-41F3-B4CB-8882572ECA74}" dt="2022-01-24T13:25:39.827" v="5766"/>
          <ac:spMkLst>
            <pc:docMk/>
            <pc:sldMk cId="1520555166" sldId="257"/>
            <ac:spMk id="241" creationId="{6BF1883D-EDDC-47FD-B276-01AD1AF4D6D0}"/>
          </ac:spMkLst>
        </pc:spChg>
        <pc:spChg chg="mod ord">
          <ac:chgData name="Erlend Holtan Lakså" userId="eaff08b7-edfc-49fd-8a4f-b1a326556099" providerId="ADAL" clId="{B0631C6C-15A4-41F3-B4CB-8882572ECA74}" dt="2022-01-24T13:25:39.839" v="5779" actId="948"/>
          <ac:spMkLst>
            <pc:docMk/>
            <pc:sldMk cId="1520555166" sldId="257"/>
            <ac:spMk id="243" creationId="{D00B8ED3-3F7F-4359-ABCE-4AE0F5FF859C}"/>
          </ac:spMkLst>
        </pc:spChg>
        <pc:spChg chg="mod ord">
          <ac:chgData name="Erlend Holtan Lakså" userId="eaff08b7-edfc-49fd-8a4f-b1a326556099" providerId="ADAL" clId="{B0631C6C-15A4-41F3-B4CB-8882572ECA74}" dt="2022-01-24T13:25:02.283" v="5410"/>
          <ac:spMkLst>
            <pc:docMk/>
            <pc:sldMk cId="1520555166" sldId="257"/>
            <ac:spMk id="245" creationId="{C4FA5473-0561-4A77-BBCC-3B27AAE2318C}"/>
          </ac:spMkLst>
        </pc:spChg>
        <pc:spChg chg="mod ord">
          <ac:chgData name="Erlend Holtan Lakså" userId="eaff08b7-edfc-49fd-8a4f-b1a326556099" providerId="ADAL" clId="{B0631C6C-15A4-41F3-B4CB-8882572ECA74}" dt="2022-01-24T13:25:02.277" v="5382"/>
          <ac:spMkLst>
            <pc:docMk/>
            <pc:sldMk cId="1520555166" sldId="257"/>
            <ac:spMk id="246" creationId="{FC3ED82E-BA07-4F1A-B2CF-E6D8D23FCEFF}"/>
          </ac:spMkLst>
        </pc:spChg>
        <pc:spChg chg="mod ord">
          <ac:chgData name="Erlend Holtan Lakså" userId="eaff08b7-edfc-49fd-8a4f-b1a326556099" providerId="ADAL" clId="{B0631C6C-15A4-41F3-B4CB-8882572ECA74}" dt="2022-01-24T13:25:39.843" v="5788" actId="948"/>
          <ac:spMkLst>
            <pc:docMk/>
            <pc:sldMk cId="1520555166" sldId="257"/>
            <ac:spMk id="247" creationId="{826ED9A0-D794-44F1-836F-FAF5DF3FED8A}"/>
          </ac:spMkLst>
        </pc:spChg>
        <pc:spChg chg="mod ord">
          <ac:chgData name="Erlend Holtan Lakså" userId="eaff08b7-edfc-49fd-8a4f-b1a326556099" providerId="ADAL" clId="{B0631C6C-15A4-41F3-B4CB-8882572ECA74}" dt="2022-01-24T13:25:02.293" v="5444"/>
          <ac:spMkLst>
            <pc:docMk/>
            <pc:sldMk cId="1520555166" sldId="257"/>
            <ac:spMk id="249" creationId="{2391F6C8-DF8C-4719-AE58-D4421E1AA7E9}"/>
          </ac:spMkLst>
        </pc:spChg>
        <pc:spChg chg="mod ord">
          <ac:chgData name="Erlend Holtan Lakså" userId="eaff08b7-edfc-49fd-8a4f-b1a326556099" providerId="ADAL" clId="{B0631C6C-15A4-41F3-B4CB-8882572ECA74}" dt="2022-01-24T13:25:02.264" v="5356"/>
          <ac:spMkLst>
            <pc:docMk/>
            <pc:sldMk cId="1520555166" sldId="257"/>
            <ac:spMk id="250" creationId="{DCFD278E-1C30-461D-BBA2-B86085992CF5}"/>
          </ac:spMkLst>
        </pc:spChg>
        <pc:spChg chg="mod ord">
          <ac:chgData name="Erlend Holtan Lakså" userId="eaff08b7-edfc-49fd-8a4f-b1a326556099" providerId="ADAL" clId="{B0631C6C-15A4-41F3-B4CB-8882572ECA74}" dt="2022-01-24T13:25:39.843" v="5787" actId="948"/>
          <ac:spMkLst>
            <pc:docMk/>
            <pc:sldMk cId="1520555166" sldId="257"/>
            <ac:spMk id="251" creationId="{C8AD04F5-D83A-4FC3-91FF-14751D763CFA}"/>
          </ac:spMkLst>
        </pc:spChg>
        <pc:spChg chg="mod ord">
          <ac:chgData name="Erlend Holtan Lakså" userId="eaff08b7-edfc-49fd-8a4f-b1a326556099" providerId="ADAL" clId="{B0631C6C-15A4-41F3-B4CB-8882572ECA74}" dt="2022-01-24T13:25:02.287" v="5420"/>
          <ac:spMkLst>
            <pc:docMk/>
            <pc:sldMk cId="1520555166" sldId="257"/>
            <ac:spMk id="253" creationId="{4DDC6C04-7ADF-4662-A0D9-ECABF9208F91}"/>
          </ac:spMkLst>
        </pc:spChg>
        <pc:spChg chg="mod ord">
          <ac:chgData name="Erlend Holtan Lakså" userId="eaff08b7-edfc-49fd-8a4f-b1a326556099" providerId="ADAL" clId="{B0631C6C-15A4-41F3-B4CB-8882572ECA74}" dt="2022-01-24T13:25:39.844" v="5791" actId="948"/>
          <ac:spMkLst>
            <pc:docMk/>
            <pc:sldMk cId="1520555166" sldId="257"/>
            <ac:spMk id="254" creationId="{6CB7009E-3AEC-4871-B2DD-91B817BFB1C4}"/>
          </ac:spMkLst>
        </pc:spChg>
        <pc:spChg chg="mod ord">
          <ac:chgData name="Erlend Holtan Lakså" userId="eaff08b7-edfc-49fd-8a4f-b1a326556099" providerId="ADAL" clId="{B0631C6C-15A4-41F3-B4CB-8882572ECA74}" dt="2022-01-24T13:25:02.281" v="5400"/>
          <ac:spMkLst>
            <pc:docMk/>
            <pc:sldMk cId="1520555166" sldId="257"/>
            <ac:spMk id="256" creationId="{BBD500CE-18A9-4E69-B371-01FC659B3C52}"/>
          </ac:spMkLst>
        </pc:spChg>
        <pc:spChg chg="mod ord">
          <ac:chgData name="Erlend Holtan Lakså" userId="eaff08b7-edfc-49fd-8a4f-b1a326556099" providerId="ADAL" clId="{B0631C6C-15A4-41F3-B4CB-8882572ECA74}" dt="2022-01-24T13:25:02.277" v="5386"/>
          <ac:spMkLst>
            <pc:docMk/>
            <pc:sldMk cId="1520555166" sldId="257"/>
            <ac:spMk id="257" creationId="{81F28ACD-0E37-48A6-8074-991F998D6717}"/>
          </ac:spMkLst>
        </pc:spChg>
        <pc:spChg chg="mod ord">
          <ac:chgData name="Erlend Holtan Lakså" userId="eaff08b7-edfc-49fd-8a4f-b1a326556099" providerId="ADAL" clId="{B0631C6C-15A4-41F3-B4CB-8882572ECA74}" dt="2022-01-24T13:25:39.838" v="5777" actId="948"/>
          <ac:spMkLst>
            <pc:docMk/>
            <pc:sldMk cId="1520555166" sldId="257"/>
            <ac:spMk id="258" creationId="{8F3C9346-DF26-4294-9052-F740C40A6C09}"/>
          </ac:spMkLst>
        </pc:spChg>
        <pc:spChg chg="mod ord">
          <ac:chgData name="Erlend Holtan Lakså" userId="eaff08b7-edfc-49fd-8a4f-b1a326556099" providerId="ADAL" clId="{B0631C6C-15A4-41F3-B4CB-8882572ECA74}" dt="2022-01-24T13:25:02.291" v="5438"/>
          <ac:spMkLst>
            <pc:docMk/>
            <pc:sldMk cId="1520555166" sldId="257"/>
            <ac:spMk id="260" creationId="{CAB27BB4-855A-4E1B-B1A5-80BA21B3ABE2}"/>
          </ac:spMkLst>
        </pc:spChg>
        <pc:spChg chg="mod ord">
          <ac:chgData name="Erlend Holtan Lakså" userId="eaff08b7-edfc-49fd-8a4f-b1a326556099" providerId="ADAL" clId="{B0631C6C-15A4-41F3-B4CB-8882572ECA74}" dt="2022-01-24T13:25:39.839" v="5778" actId="948"/>
          <ac:spMkLst>
            <pc:docMk/>
            <pc:sldMk cId="1520555166" sldId="257"/>
            <ac:spMk id="261" creationId="{68B87972-5CB0-434A-9BE4-10150EE9504F}"/>
          </ac:spMkLst>
        </pc:spChg>
        <pc:spChg chg="mod ord">
          <ac:chgData name="Erlend Holtan Lakså" userId="eaff08b7-edfc-49fd-8a4f-b1a326556099" providerId="ADAL" clId="{B0631C6C-15A4-41F3-B4CB-8882572ECA74}" dt="2022-01-24T13:25:02.289" v="5430"/>
          <ac:spMkLst>
            <pc:docMk/>
            <pc:sldMk cId="1520555166" sldId="257"/>
            <ac:spMk id="263" creationId="{3B747B62-465F-4CEE-BF21-480C269746C3}"/>
          </ac:spMkLst>
        </pc:spChg>
        <pc:spChg chg="mod">
          <ac:chgData name="Erlend Holtan Lakså" userId="eaff08b7-edfc-49fd-8a4f-b1a326556099" providerId="ADAL" clId="{B0631C6C-15A4-41F3-B4CB-8882572ECA74}" dt="2022-01-24T13:25:39.826" v="5765"/>
          <ac:spMkLst>
            <pc:docMk/>
            <pc:sldMk cId="1520555166" sldId="257"/>
            <ac:spMk id="266" creationId="{226EE101-2D25-4E68-9331-5E1E5B53A98A}"/>
          </ac:spMkLst>
        </pc:spChg>
        <pc:spChg chg="mod ord">
          <ac:chgData name="Erlend Holtan Lakså" userId="eaff08b7-edfc-49fd-8a4f-b1a326556099" providerId="ADAL" clId="{B0631C6C-15A4-41F3-B4CB-8882572ECA74}" dt="2022-01-24T13:25:02.276" v="5380"/>
          <ac:spMkLst>
            <pc:docMk/>
            <pc:sldMk cId="1520555166" sldId="257"/>
            <ac:spMk id="270" creationId="{CC3C6196-8F96-4BEF-9794-96D8D994F5BF}"/>
          </ac:spMkLst>
        </pc:spChg>
        <pc:spChg chg="mod ord">
          <ac:chgData name="Erlend Holtan Lakså" userId="eaff08b7-edfc-49fd-8a4f-b1a326556099" providerId="ADAL" clId="{B0631C6C-15A4-41F3-B4CB-8882572ECA74}" dt="2022-01-24T13:25:39.836" v="5773" actId="948"/>
          <ac:spMkLst>
            <pc:docMk/>
            <pc:sldMk cId="1520555166" sldId="257"/>
            <ac:spMk id="271" creationId="{14C54522-6565-419A-BC1F-1B3F3593C1FD}"/>
          </ac:spMkLst>
        </pc:spChg>
        <pc:spChg chg="mod ord">
          <ac:chgData name="Erlend Holtan Lakså" userId="eaff08b7-edfc-49fd-8a4f-b1a326556099" providerId="ADAL" clId="{B0631C6C-15A4-41F3-B4CB-8882572ECA74}" dt="2022-01-24T13:25:02.292" v="5440"/>
          <ac:spMkLst>
            <pc:docMk/>
            <pc:sldMk cId="1520555166" sldId="257"/>
            <ac:spMk id="273" creationId="{0518412F-651B-4882-87F1-5FE5C547B719}"/>
          </ac:spMkLst>
        </pc:spChg>
        <pc:spChg chg="mod ord">
          <ac:chgData name="Erlend Holtan Lakså" userId="eaff08b7-edfc-49fd-8a4f-b1a326556099" providerId="ADAL" clId="{B0631C6C-15A4-41F3-B4CB-8882572ECA74}" dt="2022-01-24T13:25:02.270" v="5374"/>
          <ac:spMkLst>
            <pc:docMk/>
            <pc:sldMk cId="1520555166" sldId="257"/>
            <ac:spMk id="274" creationId="{D8EE2725-740B-4616-B3D7-58309F986637}"/>
          </ac:spMkLst>
        </pc:spChg>
        <pc:spChg chg="mod ord">
          <ac:chgData name="Erlend Holtan Lakså" userId="eaff08b7-edfc-49fd-8a4f-b1a326556099" providerId="ADAL" clId="{B0631C6C-15A4-41F3-B4CB-8882572ECA74}" dt="2022-01-24T13:25:39.837" v="5775" actId="948"/>
          <ac:spMkLst>
            <pc:docMk/>
            <pc:sldMk cId="1520555166" sldId="257"/>
            <ac:spMk id="275" creationId="{42D70861-5A9F-47B2-976C-A264086FC043}"/>
          </ac:spMkLst>
        </pc:spChg>
        <pc:spChg chg="mod ord">
          <ac:chgData name="Erlend Holtan Lakså" userId="eaff08b7-edfc-49fd-8a4f-b1a326556099" providerId="ADAL" clId="{B0631C6C-15A4-41F3-B4CB-8882572ECA74}" dt="2022-01-24T13:25:02.286" v="5416"/>
          <ac:spMkLst>
            <pc:docMk/>
            <pc:sldMk cId="1520555166" sldId="257"/>
            <ac:spMk id="277" creationId="{425A93E9-3E21-42C1-8D88-5086EE5C1F8D}"/>
          </ac:spMkLst>
        </pc:spChg>
        <pc:spChg chg="mod">
          <ac:chgData name="Erlend Holtan Lakså" userId="eaff08b7-edfc-49fd-8a4f-b1a326556099" providerId="ADAL" clId="{B0631C6C-15A4-41F3-B4CB-8882572ECA74}" dt="2022-01-24T13:25:39.830" v="5771"/>
          <ac:spMkLst>
            <pc:docMk/>
            <pc:sldMk cId="1520555166" sldId="257"/>
            <ac:spMk id="278" creationId="{FB19EB4B-0CD1-4132-A6D6-C4F9FBF80FE9}"/>
          </ac:spMkLst>
        </pc:spChg>
        <pc:spChg chg="mod ord">
          <ac:chgData name="Erlend Holtan Lakså" userId="eaff08b7-edfc-49fd-8a4f-b1a326556099" providerId="ADAL" clId="{B0631C6C-15A4-41F3-B4CB-8882572ECA74}" dt="2022-01-24T13:25:02.275" v="5378"/>
          <ac:spMkLst>
            <pc:docMk/>
            <pc:sldMk cId="1520555166" sldId="257"/>
            <ac:spMk id="283" creationId="{BEDC0651-14B9-4AE4-94CD-297B0128882B}"/>
          </ac:spMkLst>
        </pc:spChg>
        <pc:spChg chg="mod ord">
          <ac:chgData name="Erlend Holtan Lakså" userId="eaff08b7-edfc-49fd-8a4f-b1a326556099" providerId="ADAL" clId="{B0631C6C-15A4-41F3-B4CB-8882572ECA74}" dt="2022-01-24T13:25:02.268" v="5370"/>
          <ac:spMkLst>
            <pc:docMk/>
            <pc:sldMk cId="1520555166" sldId="257"/>
            <ac:spMk id="284" creationId="{0305043A-C239-4A2B-9EC0-8BDE3C02B776}"/>
          </ac:spMkLst>
        </pc:spChg>
        <pc:spChg chg="mod">
          <ac:chgData name="Erlend Holtan Lakså" userId="eaff08b7-edfc-49fd-8a4f-b1a326556099" providerId="ADAL" clId="{B0631C6C-15A4-41F3-B4CB-8882572ECA74}" dt="2022-01-24T13:25:02.241" v="5282"/>
          <ac:spMkLst>
            <pc:docMk/>
            <pc:sldMk cId="1520555166" sldId="257"/>
            <ac:spMk id="285" creationId="{72EF4EDA-6A43-410C-9B6D-1330123CBAA5}"/>
          </ac:spMkLst>
        </pc:spChg>
        <pc:spChg chg="mod">
          <ac:chgData name="Erlend Holtan Lakså" userId="eaff08b7-edfc-49fd-8a4f-b1a326556099" providerId="ADAL" clId="{B0631C6C-15A4-41F3-B4CB-8882572ECA74}" dt="2022-01-24T13:25:02.242" v="5283"/>
          <ac:spMkLst>
            <pc:docMk/>
            <pc:sldMk cId="1520555166" sldId="257"/>
            <ac:spMk id="286" creationId="{2670F618-0C6D-4220-BB20-A67B9E561F8A}"/>
          </ac:spMkLst>
        </pc:spChg>
        <pc:spChg chg="mod ord">
          <ac:chgData name="Erlend Holtan Lakså" userId="eaff08b7-edfc-49fd-8a4f-b1a326556099" providerId="ADAL" clId="{B0631C6C-15A4-41F3-B4CB-8882572ECA74}" dt="2022-01-24T13:25:39.821" v="5763" actId="948"/>
          <ac:spMkLst>
            <pc:docMk/>
            <pc:sldMk cId="1520555166" sldId="257"/>
            <ac:spMk id="294" creationId="{55E5AD49-D18A-4D31-BC75-72E85B1C3965}"/>
          </ac:spMkLst>
        </pc:spChg>
        <pc:spChg chg="mod ord">
          <ac:chgData name="Erlend Holtan Lakså" userId="eaff08b7-edfc-49fd-8a4f-b1a326556099" providerId="ADAL" clId="{B0631C6C-15A4-41F3-B4CB-8882572ECA74}" dt="2022-01-24T13:25:39.848" v="5799" actId="948"/>
          <ac:spMkLst>
            <pc:docMk/>
            <pc:sldMk cId="1520555166" sldId="257"/>
            <ac:spMk id="296" creationId="{A4B3622A-3A1D-4077-9FF4-A5120D613B92}"/>
          </ac:spMkLst>
        </pc:spChg>
        <pc:spChg chg="mod ord">
          <ac:chgData name="Erlend Holtan Lakså" userId="eaff08b7-edfc-49fd-8a4f-b1a326556099" providerId="ADAL" clId="{B0631C6C-15A4-41F3-B4CB-8882572ECA74}" dt="2022-01-24T13:25:02.279" v="5392"/>
          <ac:spMkLst>
            <pc:docMk/>
            <pc:sldMk cId="1520555166" sldId="257"/>
            <ac:spMk id="298" creationId="{71BDCA67-EA56-42AA-BF8F-082C926F6BF7}"/>
          </ac:spMkLst>
        </pc:spChg>
        <pc:spChg chg="mod ord">
          <ac:chgData name="Erlend Holtan Lakså" userId="eaff08b7-edfc-49fd-8a4f-b1a326556099" providerId="ADAL" clId="{B0631C6C-15A4-41F3-B4CB-8882572ECA74}" dt="2022-01-24T13:25:02.316" v="5511"/>
          <ac:spMkLst>
            <pc:docMk/>
            <pc:sldMk cId="1520555166" sldId="257"/>
            <ac:spMk id="327" creationId="{3B8CE78D-BBFB-4EAB-9E2F-55ED88E33EBD}"/>
          </ac:spMkLst>
        </pc:spChg>
        <pc:spChg chg="mod ord">
          <ac:chgData name="Erlend Holtan Lakså" userId="eaff08b7-edfc-49fd-8a4f-b1a326556099" providerId="ADAL" clId="{B0631C6C-15A4-41F3-B4CB-8882572ECA74}" dt="2022-01-24T13:25:02.316" v="5513"/>
          <ac:spMkLst>
            <pc:docMk/>
            <pc:sldMk cId="1520555166" sldId="257"/>
            <ac:spMk id="328" creationId="{B65051B9-67C9-4F39-89D9-B9DE4462C2F3}"/>
          </ac:spMkLst>
        </pc:spChg>
        <pc:spChg chg="mod ord">
          <ac:chgData name="Erlend Holtan Lakså" userId="eaff08b7-edfc-49fd-8a4f-b1a326556099" providerId="ADAL" clId="{B0631C6C-15A4-41F3-B4CB-8882572ECA74}" dt="2022-01-24T13:25:02.317" v="5515"/>
          <ac:spMkLst>
            <pc:docMk/>
            <pc:sldMk cId="1520555166" sldId="257"/>
            <ac:spMk id="329" creationId="{2CB927F0-CF4E-4317-8466-EB241DEBB5B4}"/>
          </ac:spMkLst>
        </pc:spChg>
        <pc:spChg chg="mod ord">
          <ac:chgData name="Erlend Holtan Lakså" userId="eaff08b7-edfc-49fd-8a4f-b1a326556099" providerId="ADAL" clId="{B0631C6C-15A4-41F3-B4CB-8882572ECA74}" dt="2022-01-24T13:25:02.317" v="5517"/>
          <ac:spMkLst>
            <pc:docMk/>
            <pc:sldMk cId="1520555166" sldId="257"/>
            <ac:spMk id="330" creationId="{DDBC3235-B545-4DC2-A076-07FDB9400160}"/>
          </ac:spMkLst>
        </pc:spChg>
        <pc:spChg chg="mod ord">
          <ac:chgData name="Erlend Holtan Lakså" userId="eaff08b7-edfc-49fd-8a4f-b1a326556099" providerId="ADAL" clId="{B0631C6C-15A4-41F3-B4CB-8882572ECA74}" dt="2022-01-24T13:25:02.319" v="5519"/>
          <ac:spMkLst>
            <pc:docMk/>
            <pc:sldMk cId="1520555166" sldId="257"/>
            <ac:spMk id="331" creationId="{7B3B0998-B0B9-47A0-B1FD-1243589DB39C}"/>
          </ac:spMkLst>
        </pc:spChg>
        <pc:graphicFrameChg chg="mod">
          <ac:chgData name="Erlend Holtan Lakså" userId="eaff08b7-edfc-49fd-8a4f-b1a326556099" providerId="ADAL" clId="{B0631C6C-15A4-41F3-B4CB-8882572ECA74}" dt="2022-01-24T13:25:39.927" v="5817"/>
          <ac:graphicFrameMkLst>
            <pc:docMk/>
            <pc:sldMk cId="1520555166" sldId="257"/>
            <ac:graphicFrameMk id="66" creationId="{DFEDFA04-7ED8-47AF-9389-3709063FF89A}"/>
          </ac:graphicFrameMkLst>
        </pc:graphicFrameChg>
        <pc:cxnChg chg="mod ord">
          <ac:chgData name="Erlend Holtan Lakså" userId="eaff08b7-edfc-49fd-8a4f-b1a326556099" providerId="ADAL" clId="{B0631C6C-15A4-41F3-B4CB-8882572ECA74}" dt="2022-01-24T13:25:02.258" v="5334"/>
          <ac:cxnSpMkLst>
            <pc:docMk/>
            <pc:sldMk cId="1520555166" sldId="257"/>
            <ac:cxnSpMk id="44" creationId="{FC157394-D664-42AE-919D-73CDBFDD999D}"/>
          </ac:cxnSpMkLst>
        </pc:cxnChg>
        <pc:cxnChg chg="mod ord">
          <ac:chgData name="Erlend Holtan Lakså" userId="eaff08b7-edfc-49fd-8a4f-b1a326556099" providerId="ADAL" clId="{B0631C6C-15A4-41F3-B4CB-8882572ECA74}" dt="2022-01-24T13:25:02.257" v="5332"/>
          <ac:cxnSpMkLst>
            <pc:docMk/>
            <pc:sldMk cId="1520555166" sldId="257"/>
            <ac:cxnSpMk id="45" creationId="{CF45F61D-5950-4C21-8F24-C79229749107}"/>
          </ac:cxnSpMkLst>
        </pc:cxnChg>
        <pc:cxnChg chg="mod ord">
          <ac:chgData name="Erlend Holtan Lakså" userId="eaff08b7-edfc-49fd-8a4f-b1a326556099" providerId="ADAL" clId="{B0631C6C-15A4-41F3-B4CB-8882572ECA74}" dt="2022-01-24T13:25:02.251" v="5308"/>
          <ac:cxnSpMkLst>
            <pc:docMk/>
            <pc:sldMk cId="1520555166" sldId="257"/>
            <ac:cxnSpMk id="61" creationId="{51478907-E561-46B0-BC6C-DC2FB87C637B}"/>
          </ac:cxnSpMkLst>
        </pc:cxnChg>
        <pc:cxnChg chg="mod ord">
          <ac:chgData name="Erlend Holtan Lakså" userId="eaff08b7-edfc-49fd-8a4f-b1a326556099" providerId="ADAL" clId="{B0631C6C-15A4-41F3-B4CB-8882572ECA74}" dt="2022-01-24T13:25:02.252" v="5310"/>
          <ac:cxnSpMkLst>
            <pc:docMk/>
            <pc:sldMk cId="1520555166" sldId="257"/>
            <ac:cxnSpMk id="62" creationId="{9827865D-272E-4025-9904-80F5E55851F6}"/>
          </ac:cxnSpMkLst>
        </pc:cxnChg>
        <pc:cxnChg chg="mod ord">
          <ac:chgData name="Erlend Holtan Lakså" userId="eaff08b7-edfc-49fd-8a4f-b1a326556099" providerId="ADAL" clId="{B0631C6C-15A4-41F3-B4CB-8882572ECA74}" dt="2022-01-24T13:25:02.253" v="5312"/>
          <ac:cxnSpMkLst>
            <pc:docMk/>
            <pc:sldMk cId="1520555166" sldId="257"/>
            <ac:cxnSpMk id="63" creationId="{616C8B9F-B803-4771-AABB-4ACADB32FF0A}"/>
          </ac:cxnSpMkLst>
        </pc:cxnChg>
        <pc:cxnChg chg="mod ord">
          <ac:chgData name="Erlend Holtan Lakså" userId="eaff08b7-edfc-49fd-8a4f-b1a326556099" providerId="ADAL" clId="{B0631C6C-15A4-41F3-B4CB-8882572ECA74}" dt="2022-01-24T13:25:02.259" v="5338"/>
          <ac:cxnSpMkLst>
            <pc:docMk/>
            <pc:sldMk cId="1520555166" sldId="257"/>
            <ac:cxnSpMk id="64" creationId="{2D5B26F2-C557-4C70-88EA-10CAE01E6074}"/>
          </ac:cxnSpMkLst>
        </pc:cxnChg>
        <pc:cxnChg chg="mod ord">
          <ac:chgData name="Erlend Holtan Lakså" userId="eaff08b7-edfc-49fd-8a4f-b1a326556099" providerId="ADAL" clId="{B0631C6C-15A4-41F3-B4CB-8882572ECA74}" dt="2022-01-24T13:25:02.258" v="5336"/>
          <ac:cxnSpMkLst>
            <pc:docMk/>
            <pc:sldMk cId="1520555166" sldId="257"/>
            <ac:cxnSpMk id="65" creationId="{23F034EC-76B2-4C49-9D88-C9B82F5FF10D}"/>
          </ac:cxnSpMkLst>
        </pc:cxnChg>
        <pc:cxnChg chg="mod ord">
          <ac:chgData name="Erlend Holtan Lakså" userId="eaff08b7-edfc-49fd-8a4f-b1a326556099" providerId="ADAL" clId="{B0631C6C-15A4-41F3-B4CB-8882572ECA74}" dt="2022-01-24T13:25:02.255" v="5322"/>
          <ac:cxnSpMkLst>
            <pc:docMk/>
            <pc:sldMk cId="1520555166" sldId="257"/>
            <ac:cxnSpMk id="83" creationId="{434AF5E6-3F67-4FC1-BD4A-8C117BE9D58E}"/>
          </ac:cxnSpMkLst>
        </pc:cxnChg>
        <pc:cxnChg chg="mod ord">
          <ac:chgData name="Erlend Holtan Lakså" userId="eaff08b7-edfc-49fd-8a4f-b1a326556099" providerId="ADAL" clId="{B0631C6C-15A4-41F3-B4CB-8882572ECA74}" dt="2022-01-24T13:25:02.256" v="5324"/>
          <ac:cxnSpMkLst>
            <pc:docMk/>
            <pc:sldMk cId="1520555166" sldId="257"/>
            <ac:cxnSpMk id="84" creationId="{50572201-5475-454C-99D0-6C9CCF42FF30}"/>
          </ac:cxnSpMkLst>
        </pc:cxnChg>
        <pc:cxnChg chg="mod ord">
          <ac:chgData name="Erlend Holtan Lakså" userId="eaff08b7-edfc-49fd-8a4f-b1a326556099" providerId="ADAL" clId="{B0631C6C-15A4-41F3-B4CB-8882572ECA74}" dt="2022-01-24T13:25:02.256" v="5326"/>
          <ac:cxnSpMkLst>
            <pc:docMk/>
            <pc:sldMk cId="1520555166" sldId="257"/>
            <ac:cxnSpMk id="85" creationId="{F45C2CDF-C75D-4763-B5A3-585FFDD54AA0}"/>
          </ac:cxnSpMkLst>
        </pc:cxnChg>
        <pc:cxnChg chg="mod ord">
          <ac:chgData name="Erlend Holtan Lakså" userId="eaff08b7-edfc-49fd-8a4f-b1a326556099" providerId="ADAL" clId="{B0631C6C-15A4-41F3-B4CB-8882572ECA74}" dt="2022-01-24T13:25:02.254" v="5316"/>
          <ac:cxnSpMkLst>
            <pc:docMk/>
            <pc:sldMk cId="1520555166" sldId="257"/>
            <ac:cxnSpMk id="86" creationId="{F25A48F2-B689-4A18-B2AC-82708C85DEE9}"/>
          </ac:cxnSpMkLst>
        </pc:cxnChg>
        <pc:cxnChg chg="mod ord">
          <ac:chgData name="Erlend Holtan Lakså" userId="eaff08b7-edfc-49fd-8a4f-b1a326556099" providerId="ADAL" clId="{B0631C6C-15A4-41F3-B4CB-8882572ECA74}" dt="2022-01-24T13:25:02.253" v="5314"/>
          <ac:cxnSpMkLst>
            <pc:docMk/>
            <pc:sldMk cId="1520555166" sldId="257"/>
            <ac:cxnSpMk id="87" creationId="{4DCE7CBD-35BF-4FE7-9F9F-5BD3568EA4A5}"/>
          </ac:cxnSpMkLst>
        </pc:cxnChg>
        <pc:cxnChg chg="mod ord">
          <ac:chgData name="Erlend Holtan Lakså" userId="eaff08b7-edfc-49fd-8a4f-b1a326556099" providerId="ADAL" clId="{B0631C6C-15A4-41F3-B4CB-8882572ECA74}" dt="2022-01-24T13:25:02.255" v="5320"/>
          <ac:cxnSpMkLst>
            <pc:docMk/>
            <pc:sldMk cId="1520555166" sldId="257"/>
            <ac:cxnSpMk id="88" creationId="{651843ED-AF34-4D18-AC3A-8809A3B24985}"/>
          </ac:cxnSpMkLst>
        </pc:cxnChg>
        <pc:cxnChg chg="mod ord">
          <ac:chgData name="Erlend Holtan Lakså" userId="eaff08b7-edfc-49fd-8a4f-b1a326556099" providerId="ADAL" clId="{B0631C6C-15A4-41F3-B4CB-8882572ECA74}" dt="2022-01-24T13:25:02.256" v="5328"/>
          <ac:cxnSpMkLst>
            <pc:docMk/>
            <pc:sldMk cId="1520555166" sldId="257"/>
            <ac:cxnSpMk id="89" creationId="{3460C52C-6F2B-4664-9F8E-E6EC8814B381}"/>
          </ac:cxnSpMkLst>
        </pc:cxnChg>
        <pc:cxnChg chg="mod ord">
          <ac:chgData name="Erlend Holtan Lakså" userId="eaff08b7-edfc-49fd-8a4f-b1a326556099" providerId="ADAL" clId="{B0631C6C-15A4-41F3-B4CB-8882572ECA74}" dt="2022-01-24T13:25:02.257" v="5330"/>
          <ac:cxnSpMkLst>
            <pc:docMk/>
            <pc:sldMk cId="1520555166" sldId="257"/>
            <ac:cxnSpMk id="90" creationId="{29D1C81A-3F4D-41CD-850B-2E280E3180A4}"/>
          </ac:cxnSpMkLst>
        </pc:cxnChg>
        <pc:cxnChg chg="mod ord">
          <ac:chgData name="Erlend Holtan Lakså" userId="eaff08b7-edfc-49fd-8a4f-b1a326556099" providerId="ADAL" clId="{B0631C6C-15A4-41F3-B4CB-8882572ECA74}" dt="2022-01-24T13:25:02.254" v="5318"/>
          <ac:cxnSpMkLst>
            <pc:docMk/>
            <pc:sldMk cId="1520555166" sldId="257"/>
            <ac:cxnSpMk id="91" creationId="{C4704270-6352-4899-AE6D-4B706C03BAAE}"/>
          </ac:cxnSpMkLst>
        </pc:cxnChg>
        <pc:cxnChg chg="mod ord">
          <ac:chgData name="Erlend Holtan Lakså" userId="eaff08b7-edfc-49fd-8a4f-b1a326556099" providerId="ADAL" clId="{B0631C6C-15A4-41F3-B4CB-8882572ECA74}" dt="2022-01-24T13:25:02.250" v="5304"/>
          <ac:cxnSpMkLst>
            <pc:docMk/>
            <pc:sldMk cId="1520555166" sldId="257"/>
            <ac:cxnSpMk id="92" creationId="{514D81EE-3D31-4ECF-BE07-EACE23F01289}"/>
          </ac:cxnSpMkLst>
        </pc:cxnChg>
        <pc:cxnChg chg="mod ord">
          <ac:chgData name="Erlend Holtan Lakså" userId="eaff08b7-edfc-49fd-8a4f-b1a326556099" providerId="ADAL" clId="{B0631C6C-15A4-41F3-B4CB-8882572ECA74}" dt="2022-01-24T13:25:02.249" v="5302"/>
          <ac:cxnSpMkLst>
            <pc:docMk/>
            <pc:sldMk cId="1520555166" sldId="257"/>
            <ac:cxnSpMk id="93" creationId="{3DF9786D-6391-4745-AA68-17EB097E50B2}"/>
          </ac:cxnSpMkLst>
        </pc:cxnChg>
        <pc:cxnChg chg="mod ord">
          <ac:chgData name="Erlend Holtan Lakså" userId="eaff08b7-edfc-49fd-8a4f-b1a326556099" providerId="ADAL" clId="{B0631C6C-15A4-41F3-B4CB-8882572ECA74}" dt="2022-01-24T13:25:02.250" v="5306"/>
          <ac:cxnSpMkLst>
            <pc:docMk/>
            <pc:sldMk cId="1520555166" sldId="257"/>
            <ac:cxnSpMk id="199" creationId="{35C2ECDE-2FD8-44F0-B043-A4042E520EB4}"/>
          </ac:cxnSpMkLst>
        </pc:cxnChg>
      </pc:sldChg>
      <pc:sldChg chg="modSp mod">
        <pc:chgData name="Erlend Holtan Lakså" userId="eaff08b7-edfc-49fd-8a4f-b1a326556099" providerId="ADAL" clId="{B0631C6C-15A4-41F3-B4CB-8882572ECA74}" dt="2022-01-26T07:50:06.624" v="6271" actId="20577"/>
        <pc:sldMkLst>
          <pc:docMk/>
          <pc:sldMk cId="2816268026" sldId="384"/>
        </pc:sldMkLst>
        <pc:graphicFrameChg chg="mod modGraphic">
          <ac:chgData name="Erlend Holtan Lakså" userId="eaff08b7-edfc-49fd-8a4f-b1a326556099" providerId="ADAL" clId="{B0631C6C-15A4-41F3-B4CB-8882572ECA74}" dt="2022-01-26T07:50:06.624" v="6271" actId="20577"/>
          <ac:graphicFrameMkLst>
            <pc:docMk/>
            <pc:sldMk cId="2816268026" sldId="384"/>
            <ac:graphicFrameMk id="8" creationId="{00000000-0000-0000-0000-000000000000}"/>
          </ac:graphicFrameMkLst>
        </pc:graphicFrameChg>
      </pc:sldChg>
      <pc:sldChg chg="modSp mod">
        <pc:chgData name="Erlend Holtan Lakså" userId="eaff08b7-edfc-49fd-8a4f-b1a326556099" providerId="ADAL" clId="{B0631C6C-15A4-41F3-B4CB-8882572ECA74}" dt="2022-01-26T07:39:55.619" v="6082" actId="114"/>
        <pc:sldMkLst>
          <pc:docMk/>
          <pc:sldMk cId="815681047" sldId="387"/>
        </pc:sldMkLst>
        <pc:graphicFrameChg chg="modGraphic">
          <ac:chgData name="Erlend Holtan Lakså" userId="eaff08b7-edfc-49fd-8a4f-b1a326556099" providerId="ADAL" clId="{B0631C6C-15A4-41F3-B4CB-8882572ECA74}" dt="2022-01-26T07:39:55.619" v="6082" actId="114"/>
          <ac:graphicFrameMkLst>
            <pc:docMk/>
            <pc:sldMk cId="815681047" sldId="387"/>
            <ac:graphicFrameMk id="4" creationId="{00000000-0000-0000-0000-000000000000}"/>
          </ac:graphicFrameMkLst>
        </pc:graphicFrameChg>
      </pc:sldChg>
      <pc:sldMasterChg chg="addSp delSp modSp mod">
        <pc:chgData name="Erlend Holtan Lakså" userId="eaff08b7-edfc-49fd-8a4f-b1a326556099" providerId="ADAL" clId="{B0631C6C-15A4-41F3-B4CB-8882572ECA74}" dt="2022-01-24T13:15:39.185" v="1046"/>
        <pc:sldMasterMkLst>
          <pc:docMk/>
          <pc:sldMasterMk cId="5777989" sldId="2147483648"/>
        </pc:sldMasterMkLst>
        <pc:spChg chg="mod">
          <ac:chgData name="Erlend Holtan Lakså" userId="eaff08b7-edfc-49fd-8a4f-b1a326556099" providerId="ADAL" clId="{B0631C6C-15A4-41F3-B4CB-8882572ECA74}" dt="2022-01-24T13:15:37.640" v="0" actId="948"/>
          <ac:spMkLst>
            <pc:docMk/>
            <pc:sldMasterMk cId="5777989" sldId="2147483648"/>
            <ac:spMk id="2" creationId="{00000000-0000-0000-0000-000000000000}"/>
          </ac:spMkLst>
        </pc:spChg>
        <pc:spChg chg="add del mod modVis">
          <ac:chgData name="Erlend Holtan Lakså" userId="eaff08b7-edfc-49fd-8a4f-b1a326556099" providerId="ADAL" clId="{B0631C6C-15A4-41F3-B4CB-8882572ECA74}" dt="2022-01-24T13:15:38.612" v="1030"/>
          <ac:spMkLst>
            <pc:docMk/>
            <pc:sldMasterMk cId="5777989" sldId="2147483648"/>
            <ac:spMk id="4" creationId="{405CBF08-8187-4841-8A67-37B62696BEC7}"/>
          </ac:spMkLst>
        </pc:spChg>
        <pc:graphicFrameChg chg="add mod ord modVis replST">
          <ac:chgData name="Erlend Holtan Lakså" userId="eaff08b7-edfc-49fd-8a4f-b1a326556099" providerId="ADAL" clId="{B0631C6C-15A4-41F3-B4CB-8882572ECA74}" dt="2022-01-24T13:15:39.185" v="1046"/>
          <ac:graphicFrameMkLst>
            <pc:docMk/>
            <pc:sldMasterMk cId="5777989" sldId="2147483648"/>
            <ac:graphicFrameMk id="5" creationId="{6B7B137B-3673-4E02-AD7A-1D723BE056E6}"/>
          </ac:graphicFrameMkLst>
        </pc:graphicFrameChg>
      </pc:sldMasterChg>
    </pc:docChg>
  </pc:docChgLst>
  <pc:docChgLst>
    <pc:chgData name="Erlend Holtan Lakså" userId="S::erlenlak@ntnu.no::eaff08b7-edfc-49fd-8a4f-b1a326556099" providerId="AD" clId="Web-{A46581AF-73BD-4EBF-8A87-05D0872A6373}"/>
    <pc:docChg chg="modSld">
      <pc:chgData name="Erlend Holtan Lakså" userId="S::erlenlak@ntnu.no::eaff08b7-edfc-49fd-8a4f-b1a326556099" providerId="AD" clId="Web-{A46581AF-73BD-4EBF-8A87-05D0872A6373}" dt="2022-02-08T09:04:44.326" v="49"/>
      <pc:docMkLst>
        <pc:docMk/>
      </pc:docMkLst>
      <pc:sldChg chg="modSp">
        <pc:chgData name="Erlend Holtan Lakså" userId="S::erlenlak@ntnu.no::eaff08b7-edfc-49fd-8a4f-b1a326556099" providerId="AD" clId="Web-{A46581AF-73BD-4EBF-8A87-05D0872A6373}" dt="2022-02-08T09:04:44.326" v="49"/>
        <pc:sldMkLst>
          <pc:docMk/>
          <pc:sldMk cId="2816268026" sldId="384"/>
        </pc:sldMkLst>
        <pc:graphicFrameChg chg="mod modGraphic">
          <ac:chgData name="Erlend Holtan Lakså" userId="S::erlenlak@ntnu.no::eaff08b7-edfc-49fd-8a4f-b1a326556099" providerId="AD" clId="Web-{A46581AF-73BD-4EBF-8A87-05D0872A6373}" dt="2022-02-08T09:04:44.326" v="49"/>
          <ac:graphicFrameMkLst>
            <pc:docMk/>
            <pc:sldMk cId="2816268026" sldId="384"/>
            <ac:graphicFrameMk id="6" creationId="{00000000-0000-0000-0000-000000000000}"/>
          </ac:graphicFrameMkLst>
        </pc:graphicFrameChg>
      </pc:sldChg>
      <pc:sldChg chg="modSp modCm">
        <pc:chgData name="Erlend Holtan Lakså" userId="S::erlenlak@ntnu.no::eaff08b7-edfc-49fd-8a4f-b1a326556099" providerId="AD" clId="Web-{A46581AF-73BD-4EBF-8A87-05D0872A6373}" dt="2022-02-08T09:04:26.357" v="23"/>
        <pc:sldMkLst>
          <pc:docMk/>
          <pc:sldMk cId="815681047" sldId="387"/>
        </pc:sldMkLst>
        <pc:graphicFrameChg chg="mod modGraphic">
          <ac:chgData name="Erlend Holtan Lakså" userId="S::erlenlak@ntnu.no::eaff08b7-edfc-49fd-8a4f-b1a326556099" providerId="AD" clId="Web-{A46581AF-73BD-4EBF-8A87-05D0872A6373}" dt="2022-02-08T09:04:26.357" v="23"/>
          <ac:graphicFrameMkLst>
            <pc:docMk/>
            <pc:sldMk cId="815681047" sldId="387"/>
            <ac:graphicFrameMk id="4" creationId="{00000000-0000-0000-0000-000000000000}"/>
          </ac:graphicFrameMkLst>
        </pc:graphicFrameChg>
        <pc:graphicFrameChg chg="mod modGraphic">
          <ac:chgData name="Erlend Holtan Lakså" userId="S::erlenlak@ntnu.no::eaff08b7-edfc-49fd-8a4f-b1a326556099" providerId="AD" clId="Web-{A46581AF-73BD-4EBF-8A87-05D0872A6373}" dt="2022-02-08T09:04:22.325" v="21"/>
          <ac:graphicFrameMkLst>
            <pc:docMk/>
            <pc:sldMk cId="815681047" sldId="387"/>
            <ac:graphicFrameMk id="6" creationId="{00000000-0000-0000-0000-000000000000}"/>
          </ac:graphicFrameMkLst>
        </pc:graphicFrameChg>
      </pc:sldChg>
    </pc:docChg>
  </pc:docChgLst>
  <pc:docChgLst>
    <pc:chgData name="Kristin Myraunet Hals" userId="2498d488-5f25-4c27-ab06-02ecdd67fe23" providerId="ADAL" clId="{B3C6D588-32B3-44A7-A609-C11EE7974D72}"/>
    <pc:docChg chg="undo custSel addSld delSld modSld replTag">
      <pc:chgData name="Kristin Myraunet Hals" userId="2498d488-5f25-4c27-ab06-02ecdd67fe23" providerId="ADAL" clId="{B3C6D588-32B3-44A7-A609-C11EE7974D72}" dt="2022-02-08T09:24:42.832" v="1031"/>
      <pc:docMkLst>
        <pc:docMk/>
      </pc:docMkLst>
      <pc:sldChg chg="addSp delSp modSp mod">
        <pc:chgData name="Kristin Myraunet Hals" userId="2498d488-5f25-4c27-ab06-02ecdd67fe23" providerId="ADAL" clId="{B3C6D588-32B3-44A7-A609-C11EE7974D72}" dt="2022-02-08T09:09:57.954" v="896" actId="20577"/>
        <pc:sldMkLst>
          <pc:docMk/>
          <pc:sldMk cId="3243102052" sldId="256"/>
        </pc:sldMkLst>
        <pc:spChg chg="add del mod modVis">
          <ac:chgData name="Kristin Myraunet Hals" userId="2498d488-5f25-4c27-ab06-02ecdd67fe23" providerId="ADAL" clId="{B3C6D588-32B3-44A7-A609-C11EE7974D72}" dt="2022-02-08T09:09:34.334" v="435"/>
          <ac:spMkLst>
            <pc:docMk/>
            <pc:sldMk cId="3243102052" sldId="256"/>
            <ac:spMk id="2" creationId="{6842E6E2-8FA7-4890-9952-67156C1C58B6}"/>
          </ac:spMkLst>
        </pc:spChg>
        <pc:spChg chg="add del mod modVis">
          <ac:chgData name="Kristin Myraunet Hals" userId="2498d488-5f25-4c27-ab06-02ecdd67fe23" providerId="ADAL" clId="{B3C6D588-32B3-44A7-A609-C11EE7974D72}" dt="2022-02-08T09:09:34.975" v="493"/>
          <ac:spMkLst>
            <pc:docMk/>
            <pc:sldMk cId="3243102052" sldId="256"/>
            <ac:spMk id="4" creationId="{EEC9819A-0476-4F55-A530-38E16D0961FB}"/>
          </ac:spMkLst>
        </pc:spChg>
        <pc:spChg chg="add del mod modVis">
          <ac:chgData name="Kristin Myraunet Hals" userId="2498d488-5f25-4c27-ab06-02ecdd67fe23" providerId="ADAL" clId="{B3C6D588-32B3-44A7-A609-C11EE7974D72}" dt="2022-02-08T09:09:35.613" v="538"/>
          <ac:spMkLst>
            <pc:docMk/>
            <pc:sldMk cId="3243102052" sldId="256"/>
            <ac:spMk id="5" creationId="{F21CE765-4B11-4CAF-8B95-2A4852FBCC89}"/>
          </ac:spMkLst>
        </pc:spChg>
        <pc:spChg chg="add del mod modVis">
          <ac:chgData name="Kristin Myraunet Hals" userId="2498d488-5f25-4c27-ab06-02ecdd67fe23" providerId="ADAL" clId="{B3C6D588-32B3-44A7-A609-C11EE7974D72}" dt="2022-02-08T09:09:41.251" v="614"/>
          <ac:spMkLst>
            <pc:docMk/>
            <pc:sldMk cId="3243102052" sldId="256"/>
            <ac:spMk id="7" creationId="{9DD75F1B-E754-442A-95A7-ED6713DBAB4C}"/>
          </ac:spMkLst>
        </pc:spChg>
        <pc:spChg chg="add del mod modVis">
          <ac:chgData name="Kristin Myraunet Hals" userId="2498d488-5f25-4c27-ab06-02ecdd67fe23" providerId="ADAL" clId="{B3C6D588-32B3-44A7-A609-C11EE7974D72}" dt="2022-02-08T09:09:43.152" v="666"/>
          <ac:spMkLst>
            <pc:docMk/>
            <pc:sldMk cId="3243102052" sldId="256"/>
            <ac:spMk id="8" creationId="{DAE12602-834D-4599-8772-CC489CC28E9B}"/>
          </ac:spMkLst>
        </pc:spChg>
        <pc:spChg chg="mod">
          <ac:chgData name="Kristin Myraunet Hals" userId="2498d488-5f25-4c27-ab06-02ecdd67fe23" providerId="ADAL" clId="{B3C6D588-32B3-44A7-A609-C11EE7974D72}" dt="2022-02-08T09:09:55.934" v="852" actId="948"/>
          <ac:spMkLst>
            <pc:docMk/>
            <pc:sldMk cId="3243102052" sldId="256"/>
            <ac:spMk id="9" creationId="{00000000-0000-0000-0000-000000000000}"/>
          </ac:spMkLst>
        </pc:spChg>
        <pc:spChg chg="mod">
          <ac:chgData name="Kristin Myraunet Hals" userId="2498d488-5f25-4c27-ab06-02ecdd67fe23" providerId="ADAL" clId="{B3C6D588-32B3-44A7-A609-C11EE7974D72}" dt="2022-02-08T09:09:57.954" v="896" actId="20577"/>
          <ac:spMkLst>
            <pc:docMk/>
            <pc:sldMk cId="3243102052" sldId="256"/>
            <ac:spMk id="10" creationId="{00000000-0000-0000-0000-000000000000}"/>
          </ac:spMkLst>
        </pc:spChg>
        <pc:spChg chg="add del mod modVis">
          <ac:chgData name="Kristin Myraunet Hals" userId="2498d488-5f25-4c27-ab06-02ecdd67fe23" providerId="ADAL" clId="{B3C6D588-32B3-44A7-A609-C11EE7974D72}" dt="2022-02-08T09:09:46.844" v="710"/>
          <ac:spMkLst>
            <pc:docMk/>
            <pc:sldMk cId="3243102052" sldId="256"/>
            <ac:spMk id="12" creationId="{374DA597-816D-4A02-82FD-BDF6C6B73F11}"/>
          </ac:spMkLst>
        </pc:spChg>
        <pc:spChg chg="add del mod modVis">
          <ac:chgData name="Kristin Myraunet Hals" userId="2498d488-5f25-4c27-ab06-02ecdd67fe23" providerId="ADAL" clId="{B3C6D588-32B3-44A7-A609-C11EE7974D72}" dt="2022-02-08T09:09:49.940" v="757"/>
          <ac:spMkLst>
            <pc:docMk/>
            <pc:sldMk cId="3243102052" sldId="256"/>
            <ac:spMk id="13" creationId="{B96FAB4F-0B2B-4D7A-A344-9A5030CA6A75}"/>
          </ac:spMkLst>
        </pc:spChg>
        <pc:spChg chg="add del mod modVis">
          <ac:chgData name="Kristin Myraunet Hals" userId="2498d488-5f25-4c27-ab06-02ecdd67fe23" providerId="ADAL" clId="{B3C6D588-32B3-44A7-A609-C11EE7974D72}" dt="2022-02-08T09:09:51.378" v="803"/>
          <ac:spMkLst>
            <pc:docMk/>
            <pc:sldMk cId="3243102052" sldId="256"/>
            <ac:spMk id="14" creationId="{2856486A-24BE-43D5-8ED1-CECD9F40AAFD}"/>
          </ac:spMkLst>
        </pc:spChg>
        <pc:spChg chg="add del mod modVis">
          <ac:chgData name="Kristin Myraunet Hals" userId="2498d488-5f25-4c27-ab06-02ecdd67fe23" providerId="ADAL" clId="{B3C6D588-32B3-44A7-A609-C11EE7974D72}" dt="2022-02-08T09:09:52.018" v="847"/>
          <ac:spMkLst>
            <pc:docMk/>
            <pc:sldMk cId="3243102052" sldId="256"/>
            <ac:spMk id="15" creationId="{24ED20ED-AA23-4625-B0ED-836389770BE5}"/>
          </ac:spMkLst>
        </pc:spChg>
        <pc:spChg chg="add del mod modVis">
          <ac:chgData name="Kristin Myraunet Hals" userId="2498d488-5f25-4c27-ab06-02ecdd67fe23" providerId="ADAL" clId="{B3C6D588-32B3-44A7-A609-C11EE7974D72}" dt="2022-02-08T09:09:55.982" v="892"/>
          <ac:spMkLst>
            <pc:docMk/>
            <pc:sldMk cId="3243102052" sldId="256"/>
            <ac:spMk id="16" creationId="{941D5D47-235A-4843-8DF0-5A625861C112}"/>
          </ac:spMkLst>
        </pc:spChg>
        <pc:graphicFrameChg chg="add mod ord modVis replST">
          <ac:chgData name="Kristin Myraunet Hals" userId="2498d488-5f25-4c27-ab06-02ecdd67fe23" providerId="ADAL" clId="{B3C6D588-32B3-44A7-A609-C11EE7974D72}" dt="2022-02-08T09:09:55.984" v="894"/>
          <ac:graphicFrameMkLst>
            <pc:docMk/>
            <pc:sldMk cId="3243102052" sldId="256"/>
            <ac:graphicFrameMk id="3" creationId="{591759DB-AC3C-4C96-B1DA-350B58B2642F}"/>
          </ac:graphicFrameMkLst>
        </pc:graphicFrameChg>
      </pc:sldChg>
      <pc:sldChg chg="addSp delSp modSp mod">
        <pc:chgData name="Kristin Myraunet Hals" userId="2498d488-5f25-4c27-ab06-02ecdd67fe23" providerId="ADAL" clId="{B3C6D588-32B3-44A7-A609-C11EE7974D72}" dt="2022-02-08T09:24:42.832" v="1031"/>
        <pc:sldMkLst>
          <pc:docMk/>
          <pc:sldMk cId="2816268026" sldId="384"/>
        </pc:sldMkLst>
        <pc:spChg chg="mod">
          <ac:chgData name="Kristin Myraunet Hals" userId="2498d488-5f25-4c27-ab06-02ecdd67fe23" providerId="ADAL" clId="{B3C6D588-32B3-44A7-A609-C11EE7974D72}" dt="2022-02-08T09:24:42.716" v="975" actId="948"/>
          <ac:spMkLst>
            <pc:docMk/>
            <pc:sldMk cId="2816268026" sldId="384"/>
            <ac:spMk id="2" creationId="{00000000-0000-0000-0000-000000000000}"/>
          </ac:spMkLst>
        </pc:spChg>
        <pc:spChg chg="add del mod modVis">
          <ac:chgData name="Kristin Myraunet Hals" userId="2498d488-5f25-4c27-ab06-02ecdd67fe23" providerId="ADAL" clId="{B3C6D588-32B3-44A7-A609-C11EE7974D72}" dt="2022-02-08T09:24:42.769" v="1015"/>
          <ac:spMkLst>
            <pc:docMk/>
            <pc:sldMk cId="2816268026" sldId="384"/>
            <ac:spMk id="3" creationId="{B67DEDFF-F13A-4657-8DC0-8F565DC9BF35}"/>
          </ac:spMkLst>
        </pc:spChg>
        <pc:graphicFrameChg chg="add mod ord modVis replST">
          <ac:chgData name="Kristin Myraunet Hals" userId="2498d488-5f25-4c27-ab06-02ecdd67fe23" providerId="ADAL" clId="{B3C6D588-32B3-44A7-A609-C11EE7974D72}" dt="2022-02-08T09:24:42.832" v="1031"/>
          <ac:graphicFrameMkLst>
            <pc:docMk/>
            <pc:sldMk cId="2816268026" sldId="384"/>
            <ac:graphicFrameMk id="4" creationId="{385EAF51-1B70-49CA-8184-6A2DCCBB9274}"/>
          </ac:graphicFrameMkLst>
        </pc:graphicFrameChg>
        <pc:graphicFrameChg chg="mod modGraphic">
          <ac:chgData name="Kristin Myraunet Hals" userId="2498d488-5f25-4c27-ab06-02ecdd67fe23" providerId="ADAL" clId="{B3C6D588-32B3-44A7-A609-C11EE7974D72}" dt="2022-02-08T09:14:08.894" v="911" actId="20577"/>
          <ac:graphicFrameMkLst>
            <pc:docMk/>
            <pc:sldMk cId="2816268026" sldId="384"/>
            <ac:graphicFrameMk id="8" creationId="{00000000-0000-0000-0000-000000000000}"/>
          </ac:graphicFrameMkLst>
        </pc:graphicFrameChg>
      </pc:sldChg>
      <pc:sldChg chg="addSp delSp modSp mod addCm">
        <pc:chgData name="Kristin Myraunet Hals" userId="2498d488-5f25-4c27-ab06-02ecdd67fe23" providerId="ADAL" clId="{B3C6D588-32B3-44A7-A609-C11EE7974D72}" dt="2022-02-08T09:24:39.561" v="972"/>
        <pc:sldMkLst>
          <pc:docMk/>
          <pc:sldMk cId="815681047" sldId="387"/>
        </pc:sldMkLst>
        <pc:spChg chg="add del mod modVis">
          <ac:chgData name="Kristin Myraunet Hals" userId="2498d488-5f25-4c27-ab06-02ecdd67fe23" providerId="ADAL" clId="{B3C6D588-32B3-44A7-A609-C11EE7974D72}" dt="2022-02-08T09:24:39.490" v="956"/>
          <ac:spMkLst>
            <pc:docMk/>
            <pc:sldMk cId="815681047" sldId="387"/>
            <ac:spMk id="2" creationId="{4FDBEA2F-E210-44DC-8197-1EA849EEFBD6}"/>
          </ac:spMkLst>
        </pc:spChg>
        <pc:spChg chg="mod">
          <ac:chgData name="Kristin Myraunet Hals" userId="2498d488-5f25-4c27-ab06-02ecdd67fe23" providerId="ADAL" clId="{B3C6D588-32B3-44A7-A609-C11EE7974D72}" dt="2022-02-08T09:24:39.446" v="916" actId="948"/>
          <ac:spMkLst>
            <pc:docMk/>
            <pc:sldMk cId="815681047" sldId="387"/>
            <ac:spMk id="3" creationId="{00000000-0000-0000-0000-000000000000}"/>
          </ac:spMkLst>
        </pc:spChg>
        <pc:graphicFrameChg chg="mod modGraphic">
          <ac:chgData name="Kristin Myraunet Hals" userId="2498d488-5f25-4c27-ab06-02ecdd67fe23" providerId="ADAL" clId="{B3C6D588-32B3-44A7-A609-C11EE7974D72}" dt="2022-02-08T09:11:14.540" v="907" actId="20577"/>
          <ac:graphicFrameMkLst>
            <pc:docMk/>
            <pc:sldMk cId="815681047" sldId="387"/>
            <ac:graphicFrameMk id="4" creationId="{00000000-0000-0000-0000-000000000000}"/>
          </ac:graphicFrameMkLst>
        </pc:graphicFrameChg>
        <pc:graphicFrameChg chg="add mod ord modVis replST">
          <ac:chgData name="Kristin Myraunet Hals" userId="2498d488-5f25-4c27-ab06-02ecdd67fe23" providerId="ADAL" clId="{B3C6D588-32B3-44A7-A609-C11EE7974D72}" dt="2022-02-08T09:24:39.561" v="972"/>
          <ac:graphicFrameMkLst>
            <pc:docMk/>
            <pc:sldMk cId="815681047" sldId="387"/>
            <ac:graphicFrameMk id="7" creationId="{77153310-418D-42D7-AADD-BC73E99DF0C5}"/>
          </ac:graphicFrameMkLst>
        </pc:graphicFrameChg>
      </pc:sldChg>
      <pc:sldChg chg="addSp delSp modSp add del mod">
        <pc:chgData name="Kristin Myraunet Hals" userId="2498d488-5f25-4c27-ab06-02ecdd67fe23" providerId="ADAL" clId="{B3C6D588-32B3-44A7-A609-C11EE7974D72}" dt="2022-02-08T09:22:44.204" v="913" actId="47"/>
        <pc:sldMkLst>
          <pc:docMk/>
          <pc:sldMk cId="314446318" sldId="563"/>
        </pc:sldMkLst>
        <pc:spChg chg="mod">
          <ac:chgData name="Kristin Myraunet Hals" userId="2498d488-5f25-4c27-ab06-02ecdd67fe23" providerId="ADAL" clId="{B3C6D588-32B3-44A7-A609-C11EE7974D72}" dt="2022-02-01T08:51:03.865" v="79" actId="948"/>
          <ac:spMkLst>
            <pc:docMk/>
            <pc:sldMk cId="314446318" sldId="563"/>
            <ac:spMk id="2" creationId="{00000000-0000-0000-0000-000000000000}"/>
          </ac:spMkLst>
        </pc:spChg>
        <pc:spChg chg="add del mod modVis">
          <ac:chgData name="Kristin Myraunet Hals" userId="2498d488-5f25-4c27-ab06-02ecdd67fe23" providerId="ADAL" clId="{B3C6D588-32B3-44A7-A609-C11EE7974D72}" dt="2022-02-01T08:51:03.912" v="119"/>
          <ac:spMkLst>
            <pc:docMk/>
            <pc:sldMk cId="314446318" sldId="563"/>
            <ac:spMk id="5" creationId="{0D26BB8A-5EB1-4E1E-8773-7386C85C24D5}"/>
          </ac:spMkLst>
        </pc:spChg>
        <pc:spChg chg="mod">
          <ac:chgData name="Kristin Myraunet Hals" userId="2498d488-5f25-4c27-ab06-02ecdd67fe23" providerId="ADAL" clId="{B3C6D588-32B3-44A7-A609-C11EE7974D72}" dt="2022-02-01T10:02:49.586" v="384" actId="20577"/>
          <ac:spMkLst>
            <pc:docMk/>
            <pc:sldMk cId="314446318" sldId="563"/>
            <ac:spMk id="6" creationId="{00000000-0000-0000-0000-000000000000}"/>
          </ac:spMkLst>
        </pc:spChg>
        <pc:spChg chg="mod">
          <ac:chgData name="Kristin Myraunet Hals" userId="2498d488-5f25-4c27-ab06-02ecdd67fe23" providerId="ADAL" clId="{B3C6D588-32B3-44A7-A609-C11EE7974D72}" dt="2022-02-01T08:51:54.940" v="158" actId="20577"/>
          <ac:spMkLst>
            <pc:docMk/>
            <pc:sldMk cId="314446318" sldId="563"/>
            <ac:spMk id="7" creationId="{00000000-0000-0000-0000-000000000000}"/>
          </ac:spMkLst>
        </pc:spChg>
        <pc:spChg chg="mod">
          <ac:chgData name="Kristin Myraunet Hals" userId="2498d488-5f25-4c27-ab06-02ecdd67fe23" providerId="ADAL" clId="{B3C6D588-32B3-44A7-A609-C11EE7974D72}" dt="2022-02-01T08:51:13.548" v="129" actId="20577"/>
          <ac:spMkLst>
            <pc:docMk/>
            <pc:sldMk cId="314446318" sldId="563"/>
            <ac:spMk id="8" creationId="{00000000-0000-0000-0000-000000000000}"/>
          </ac:spMkLst>
        </pc:spChg>
        <pc:spChg chg="mod">
          <ac:chgData name="Kristin Myraunet Hals" userId="2498d488-5f25-4c27-ab06-02ecdd67fe23" providerId="ADAL" clId="{B3C6D588-32B3-44A7-A609-C11EE7974D72}" dt="2022-02-01T08:51:09.518" v="125" actId="20577"/>
          <ac:spMkLst>
            <pc:docMk/>
            <pc:sldMk cId="314446318" sldId="563"/>
            <ac:spMk id="9" creationId="{00000000-0000-0000-0000-000000000000}"/>
          </ac:spMkLst>
        </pc:spChg>
        <pc:spChg chg="mod">
          <ac:chgData name="Kristin Myraunet Hals" userId="2498d488-5f25-4c27-ab06-02ecdd67fe23" providerId="ADAL" clId="{B3C6D588-32B3-44A7-A609-C11EE7974D72}" dt="2022-02-01T08:51:43.371" v="147" actId="20577"/>
          <ac:spMkLst>
            <pc:docMk/>
            <pc:sldMk cId="314446318" sldId="563"/>
            <ac:spMk id="16" creationId="{00000000-0000-0000-0000-000000000000}"/>
          </ac:spMkLst>
        </pc:spChg>
        <pc:spChg chg="mod">
          <ac:chgData name="Kristin Myraunet Hals" userId="2498d488-5f25-4c27-ab06-02ecdd67fe23" providerId="ADAL" clId="{B3C6D588-32B3-44A7-A609-C11EE7974D72}" dt="2022-02-01T08:52:03.613" v="161" actId="20577"/>
          <ac:spMkLst>
            <pc:docMk/>
            <pc:sldMk cId="314446318" sldId="563"/>
            <ac:spMk id="17" creationId="{00000000-0000-0000-0000-000000000000}"/>
          </ac:spMkLst>
        </pc:spChg>
        <pc:spChg chg="del mod">
          <ac:chgData name="Kristin Myraunet Hals" userId="2498d488-5f25-4c27-ab06-02ecdd67fe23" providerId="ADAL" clId="{B3C6D588-32B3-44A7-A609-C11EE7974D72}" dt="2021-12-20T12:00:41.485" v="39" actId="478"/>
          <ac:spMkLst>
            <pc:docMk/>
            <pc:sldMk cId="314446318" sldId="563"/>
            <ac:spMk id="19" creationId="{00000000-0000-0000-0000-000000000000}"/>
          </ac:spMkLst>
        </pc:spChg>
        <pc:graphicFrameChg chg="mod">
          <ac:chgData name="Kristin Myraunet Hals" userId="2498d488-5f25-4c27-ab06-02ecdd67fe23" providerId="ADAL" clId="{B3C6D588-32B3-44A7-A609-C11EE7974D72}" dt="2022-02-01T08:51:03.914" v="121"/>
          <ac:graphicFrameMkLst>
            <pc:docMk/>
            <pc:sldMk cId="314446318" sldId="563"/>
            <ac:graphicFrameMk id="19" creationId="{981A79FE-9658-429E-8667-FBA7855381E4}"/>
          </ac:graphicFrameMkLst>
        </pc:graphicFrameChg>
      </pc:sldChg>
      <pc:sldChg chg="add">
        <pc:chgData name="Kristin Myraunet Hals" userId="2498d488-5f25-4c27-ab06-02ecdd67fe23" providerId="ADAL" clId="{B3C6D588-32B3-44A7-A609-C11EE7974D72}" dt="2022-02-08T09:22:27.587" v="912"/>
        <pc:sldMkLst>
          <pc:docMk/>
          <pc:sldMk cId="2112978638" sldId="565"/>
        </pc:sldMkLst>
      </pc:sldChg>
    </pc:docChg>
  </pc:docChgLst>
  <pc:docChgLst>
    <pc:chgData name="Erlend Holtan Lakså" userId="S::erlenlak@ntnu.no::eaff08b7-edfc-49fd-8a4f-b1a326556099" providerId="AD" clId="Web-{ED6EDA23-4617-1957-4ECF-39F6D7179096}"/>
    <pc:docChg chg="modSld">
      <pc:chgData name="Erlend Holtan Lakså" userId="S::erlenlak@ntnu.no::eaff08b7-edfc-49fd-8a4f-b1a326556099" providerId="AD" clId="Web-{ED6EDA23-4617-1957-4ECF-39F6D7179096}" dt="2022-02-08T09:08:17.794" v="209" actId="20577"/>
      <pc:docMkLst>
        <pc:docMk/>
      </pc:docMkLst>
      <pc:sldChg chg="modSp">
        <pc:chgData name="Erlend Holtan Lakså" userId="S::erlenlak@ntnu.no::eaff08b7-edfc-49fd-8a4f-b1a326556099" providerId="AD" clId="Web-{ED6EDA23-4617-1957-4ECF-39F6D7179096}" dt="2022-02-08T09:07:41.199" v="101"/>
        <pc:sldMkLst>
          <pc:docMk/>
          <pc:sldMk cId="2816268026" sldId="384"/>
        </pc:sldMkLst>
        <pc:graphicFrameChg chg="mod modGraphic">
          <ac:chgData name="Erlend Holtan Lakså" userId="S::erlenlak@ntnu.no::eaff08b7-edfc-49fd-8a4f-b1a326556099" providerId="AD" clId="Web-{ED6EDA23-4617-1957-4ECF-39F6D7179096}" dt="2022-02-08T09:07:41.199" v="101"/>
          <ac:graphicFrameMkLst>
            <pc:docMk/>
            <pc:sldMk cId="2816268026" sldId="384"/>
            <ac:graphicFrameMk id="8" creationId="{00000000-0000-0000-0000-000000000000}"/>
          </ac:graphicFrameMkLst>
        </pc:graphicFrameChg>
      </pc:sldChg>
      <pc:sldChg chg="modSp delCm">
        <pc:chgData name="Erlend Holtan Lakså" userId="S::erlenlak@ntnu.no::eaff08b7-edfc-49fd-8a4f-b1a326556099" providerId="AD" clId="Web-{ED6EDA23-4617-1957-4ECF-39F6D7179096}" dt="2022-02-08T09:07:52.980" v="196"/>
        <pc:sldMkLst>
          <pc:docMk/>
          <pc:sldMk cId="815681047" sldId="387"/>
        </pc:sldMkLst>
        <pc:graphicFrameChg chg="mod modGraphic">
          <ac:chgData name="Erlend Holtan Lakså" userId="S::erlenlak@ntnu.no::eaff08b7-edfc-49fd-8a4f-b1a326556099" providerId="AD" clId="Web-{ED6EDA23-4617-1957-4ECF-39F6D7179096}" dt="2022-02-08T09:07:49.808" v="195"/>
          <ac:graphicFrameMkLst>
            <pc:docMk/>
            <pc:sldMk cId="815681047" sldId="387"/>
            <ac:graphicFrameMk id="4" creationId="{00000000-0000-0000-0000-000000000000}"/>
          </ac:graphicFrameMkLst>
        </pc:graphicFrameChg>
      </pc:sldChg>
      <pc:sldChg chg="modSp">
        <pc:chgData name="Erlend Holtan Lakså" userId="S::erlenlak@ntnu.no::eaff08b7-edfc-49fd-8a4f-b1a326556099" providerId="AD" clId="Web-{ED6EDA23-4617-1957-4ECF-39F6D7179096}" dt="2022-02-08T09:08:17.794" v="209" actId="20577"/>
        <pc:sldMkLst>
          <pc:docMk/>
          <pc:sldMk cId="3157109946" sldId="564"/>
        </pc:sldMkLst>
        <pc:spChg chg="mod">
          <ac:chgData name="Erlend Holtan Lakså" userId="S::erlenlak@ntnu.no::eaff08b7-edfc-49fd-8a4f-b1a326556099" providerId="AD" clId="Web-{ED6EDA23-4617-1957-4ECF-39F6D7179096}" dt="2022-02-08T09:08:17.794" v="209" actId="20577"/>
          <ac:spMkLst>
            <pc:docMk/>
            <pc:sldMk cId="3157109946" sldId="564"/>
            <ac:spMk id="5" creationId="{29EAF9E5-6617-4886-A9FD-D098A825EB2C}"/>
          </ac:spMkLst>
        </pc:spChg>
      </pc:sldChg>
    </pc:docChg>
  </pc:docChgLst>
  <pc:docChgLst>
    <pc:chgData name="Erlend Holtan Lakså" userId="eaff08b7-edfc-49fd-8a4f-b1a326556099" providerId="ADAL" clId="{D3E37BEE-616D-42EF-9E65-3D61BE278AB4}"/>
    <pc:docChg chg="undo custSel addSld modSld">
      <pc:chgData name="Erlend Holtan Lakså" userId="eaff08b7-edfc-49fd-8a4f-b1a326556099" providerId="ADAL" clId="{D3E37BEE-616D-42EF-9E65-3D61BE278AB4}" dt="2022-02-04T09:12:19.841" v="1115" actId="20577"/>
      <pc:docMkLst>
        <pc:docMk/>
      </pc:docMkLst>
      <pc:sldChg chg="modSp mod">
        <pc:chgData name="Erlend Holtan Lakså" userId="eaff08b7-edfc-49fd-8a4f-b1a326556099" providerId="ADAL" clId="{D3E37BEE-616D-42EF-9E65-3D61BE278AB4}" dt="2022-02-04T09:12:19.841" v="1115" actId="20577"/>
        <pc:sldMkLst>
          <pc:docMk/>
          <pc:sldMk cId="2816268026" sldId="384"/>
        </pc:sldMkLst>
        <pc:graphicFrameChg chg="mod modGraphic">
          <ac:chgData name="Erlend Holtan Lakså" userId="eaff08b7-edfc-49fd-8a4f-b1a326556099" providerId="ADAL" clId="{D3E37BEE-616D-42EF-9E65-3D61BE278AB4}" dt="2022-02-04T09:12:19.841" v="1115" actId="20577"/>
          <ac:graphicFrameMkLst>
            <pc:docMk/>
            <pc:sldMk cId="2816268026" sldId="384"/>
            <ac:graphicFrameMk id="8" creationId="{00000000-0000-0000-0000-000000000000}"/>
          </ac:graphicFrameMkLst>
        </pc:graphicFrameChg>
      </pc:sldChg>
      <pc:sldChg chg="modSp mod">
        <pc:chgData name="Erlend Holtan Lakså" userId="eaff08b7-edfc-49fd-8a4f-b1a326556099" providerId="ADAL" clId="{D3E37BEE-616D-42EF-9E65-3D61BE278AB4}" dt="2022-02-04T09:11:20.842" v="1042" actId="20577"/>
        <pc:sldMkLst>
          <pc:docMk/>
          <pc:sldMk cId="815681047" sldId="387"/>
        </pc:sldMkLst>
        <pc:graphicFrameChg chg="mod modGraphic">
          <ac:chgData name="Erlend Holtan Lakså" userId="eaff08b7-edfc-49fd-8a4f-b1a326556099" providerId="ADAL" clId="{D3E37BEE-616D-42EF-9E65-3D61BE278AB4}" dt="2022-02-04T09:11:20.842" v="1042" actId="20577"/>
          <ac:graphicFrameMkLst>
            <pc:docMk/>
            <pc:sldMk cId="815681047" sldId="387"/>
            <ac:graphicFrameMk id="4" creationId="{00000000-0000-0000-0000-000000000000}"/>
          </ac:graphicFrameMkLst>
        </pc:graphicFrameChg>
      </pc:sldChg>
      <pc:sldChg chg="addSp delSp modSp new mod modClrScheme chgLayout">
        <pc:chgData name="Erlend Holtan Lakså" userId="eaff08b7-edfc-49fd-8a4f-b1a326556099" providerId="ADAL" clId="{D3E37BEE-616D-42EF-9E65-3D61BE278AB4}" dt="2022-02-04T09:07:23.661" v="1017" actId="1076"/>
        <pc:sldMkLst>
          <pc:docMk/>
          <pc:sldMk cId="3157109946" sldId="564"/>
        </pc:sldMkLst>
        <pc:spChg chg="mod ord">
          <ac:chgData name="Erlend Holtan Lakså" userId="eaff08b7-edfc-49fd-8a4f-b1a326556099" providerId="ADAL" clId="{D3E37BEE-616D-42EF-9E65-3D61BE278AB4}" dt="2022-02-04T09:06:06.100" v="753" actId="700"/>
          <ac:spMkLst>
            <pc:docMk/>
            <pc:sldMk cId="3157109946" sldId="564"/>
            <ac:spMk id="2" creationId="{78C61B66-493D-4823-960A-5FF035995065}"/>
          </ac:spMkLst>
        </pc:spChg>
        <pc:spChg chg="del">
          <ac:chgData name="Erlend Holtan Lakså" userId="eaff08b7-edfc-49fd-8a4f-b1a326556099" providerId="ADAL" clId="{D3E37BEE-616D-42EF-9E65-3D61BE278AB4}" dt="2022-02-04T09:02:39.814" v="486" actId="478"/>
          <ac:spMkLst>
            <pc:docMk/>
            <pc:sldMk cId="3157109946" sldId="564"/>
            <ac:spMk id="3" creationId="{CABB3C60-0BAC-49EA-8FBE-83A26A94B92C}"/>
          </ac:spMkLst>
        </pc:spChg>
        <pc:spChg chg="add mod ord">
          <ac:chgData name="Erlend Holtan Lakså" userId="eaff08b7-edfc-49fd-8a4f-b1a326556099" providerId="ADAL" clId="{D3E37BEE-616D-42EF-9E65-3D61BE278AB4}" dt="2022-02-04T09:07:11.781" v="1016" actId="20577"/>
          <ac:spMkLst>
            <pc:docMk/>
            <pc:sldMk cId="3157109946" sldId="564"/>
            <ac:spMk id="5" creationId="{29EAF9E5-6617-4886-A9FD-D098A825EB2C}"/>
          </ac:spMkLst>
        </pc:spChg>
        <pc:spChg chg="add del mod ord">
          <ac:chgData name="Erlend Holtan Lakså" userId="eaff08b7-edfc-49fd-8a4f-b1a326556099" providerId="ADAL" clId="{D3E37BEE-616D-42EF-9E65-3D61BE278AB4}" dt="2022-02-04T09:06:08.070" v="754" actId="478"/>
          <ac:spMkLst>
            <pc:docMk/>
            <pc:sldMk cId="3157109946" sldId="564"/>
            <ac:spMk id="6" creationId="{465D0832-FFD7-4AD8-A9FB-687ADBF181E4}"/>
          </ac:spMkLst>
        </pc:spChg>
        <pc:graphicFrameChg chg="add mod modGraphic">
          <ac:chgData name="Erlend Holtan Lakså" userId="eaff08b7-edfc-49fd-8a4f-b1a326556099" providerId="ADAL" clId="{D3E37BEE-616D-42EF-9E65-3D61BE278AB4}" dt="2022-02-04T09:07:23.661" v="1017" actId="1076"/>
          <ac:graphicFrameMkLst>
            <pc:docMk/>
            <pc:sldMk cId="3157109946" sldId="564"/>
            <ac:graphicFrameMk id="4" creationId="{FF532B56-BA66-447C-8474-5755B0EA57D3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EC27B2-0CC4-45F0-9994-CC0E9EB2D664}" type="datetimeFigureOut">
              <a:rPr lang="nb-NO" smtClean="0"/>
              <a:t>08.02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45A402-2E02-44A4-B000-B7D7A8D2BA7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60904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b-NO"/>
              <a:t>Studieporteføljeendringer i oktober 2021 – men deretter vil denne legges til junimøtet. </a:t>
            </a:r>
          </a:p>
          <a:p>
            <a:pPr lvl="0"/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E8A7A2-AB8B-48FB-B340-A05C93C2480A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93197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B7B137B-3673-4E02-AD7A-1D723BE05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8467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07" imgH="407" progId="TCLayout.ActiveDocument.1">
                  <p:embed/>
                </p:oleObj>
              </mc:Choice>
              <mc:Fallback>
                <p:oleObj name="think-cell Slide" r:id="rId15" imgW="407" imgH="40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B7B137B-3673-4E02-AD7A-1D723BE05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9" name="Bilde 8" descr="logo.jp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180" y="4814945"/>
            <a:ext cx="976089" cy="183326"/>
          </a:xfrm>
          <a:prstGeom prst="rect">
            <a:avLst/>
          </a:prstGeom>
        </p:spPr>
      </p:pic>
      <p:sp>
        <p:nvSpPr>
          <p:cNvPr id="10" name="TekstSylinder 9"/>
          <p:cNvSpPr txBox="1"/>
          <p:nvPr userDrawn="1"/>
        </p:nvSpPr>
        <p:spPr>
          <a:xfrm>
            <a:off x="1529842" y="4786170"/>
            <a:ext cx="22507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>
                <a:effectLst/>
                <a:latin typeface="Arial"/>
                <a:cs typeface="Arial"/>
              </a:rPr>
              <a:t>Kunnskap for en </a:t>
            </a:r>
            <a:r>
              <a:rPr lang="nb-NO" sz="1200">
                <a:solidFill>
                  <a:srgbClr val="0D3475"/>
                </a:solidFill>
                <a:effectLst/>
                <a:latin typeface="Arial"/>
                <a:cs typeface="Arial"/>
              </a:rPr>
              <a:t>bedre </a:t>
            </a:r>
            <a:r>
              <a:rPr lang="nb-NO" sz="1200">
                <a:solidFill>
                  <a:schemeClr val="tx1"/>
                </a:solidFill>
                <a:effectLst/>
                <a:latin typeface="Arial"/>
                <a:cs typeface="Arial"/>
              </a:rPr>
              <a:t>verden</a:t>
            </a:r>
          </a:p>
        </p:txBody>
      </p:sp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91759DB-AC3C-4C96-B1DA-350B58B264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315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91759DB-AC3C-4C96-B1DA-350B58B26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6" name="Bilde 5" descr="ny_logo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601" y="519284"/>
            <a:ext cx="3139440" cy="893064"/>
          </a:xfrm>
          <a:prstGeom prst="rect">
            <a:avLst/>
          </a:prstGeom>
        </p:spPr>
      </p:pic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7126" y="1803475"/>
            <a:ext cx="8478594" cy="675821"/>
          </a:xfrm>
        </p:spPr>
        <p:txBody>
          <a:bodyPr vert="horz">
            <a:noAutofit/>
          </a:bodyPr>
          <a:lstStyle/>
          <a:p>
            <a:r>
              <a:rPr lang="nb-NO" sz="2900"/>
              <a:t>Styringshjulet 2022 </a:t>
            </a:r>
            <a:br>
              <a:rPr lang="nb-NO" sz="2900"/>
            </a:br>
            <a:r>
              <a:rPr lang="nb-NO" sz="2900"/>
              <a:t>for plan, budsjett og oppfølgingsprosessen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7126" y="2870423"/>
            <a:ext cx="8198982" cy="1731075"/>
          </a:xfrm>
        </p:spPr>
        <p:txBody>
          <a:bodyPr>
            <a:normAutofit/>
          </a:bodyPr>
          <a:lstStyle/>
          <a:p>
            <a:endParaRPr lang="nb-NO" sz="2000"/>
          </a:p>
          <a:p>
            <a:r>
              <a:rPr lang="nb-NO" sz="2000"/>
              <a:t>Vedlegg til tildelingsbrevet for 2022</a:t>
            </a:r>
            <a:endParaRPr lang="nb-NO" sz="1600"/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981A79FE-9658-429E-8667-FBA7855381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id="{981A79FE-9658-429E-8667-FBA785538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66584" y="79816"/>
            <a:ext cx="7603299" cy="573939"/>
          </a:xfrm>
        </p:spPr>
        <p:txBody>
          <a:bodyPr vert="horz">
            <a:noAutofit/>
          </a:bodyPr>
          <a:lstStyle/>
          <a:p>
            <a:r>
              <a:rPr kumimoji="0" lang="nb-NO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TNUs styre: møtedatoer i 2022</a:t>
            </a:r>
            <a:b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nb-NO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Foreløpig oversikt over faste saker</a:t>
            </a:r>
            <a:endParaRPr lang="nb-NO" sz="1600" i="1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657" y="1634020"/>
            <a:ext cx="3044892" cy="27034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kstSylinder 5"/>
          <p:cNvSpPr txBox="1"/>
          <p:nvPr/>
        </p:nvSpPr>
        <p:spPr>
          <a:xfrm>
            <a:off x="5232809" y="3993403"/>
            <a:ext cx="436057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  <a:t>Styremøte 20. juni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Virksomhetsrapport 1. tertial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NTNUs risikobilde og –vurderinger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Planleggingsrammer for 2023 og langtidsperioden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Riksrevisjonens beretning om årsregnskapet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Strategisk utvikling av NTNUs innovasjons- og  nyskapingsvirksomhet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Styrets vurdering – måloppnåelse rektors resultatkrav </a:t>
            </a:r>
          </a:p>
        </p:txBody>
      </p:sp>
      <p:sp>
        <p:nvSpPr>
          <p:cNvPr id="7" name="TekstSylinder 6"/>
          <p:cNvSpPr txBox="1"/>
          <p:nvPr/>
        </p:nvSpPr>
        <p:spPr>
          <a:xfrm>
            <a:off x="325124" y="1829012"/>
            <a:ext cx="28944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  <a:t>Styremøte 3. november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Virksomhetsrapport 2. tertial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Budsjettforslag for 2024 til KD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Informasjon om statsbudsjettet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Internrevisors plan for 2023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Rapport fra NTNU RSA</a:t>
            </a:r>
          </a:p>
          <a:p>
            <a:pPr algn="r"/>
            <a:endParaRPr lang="nb-NO" sz="1000">
              <a:solidFill>
                <a:schemeClr val="bg1">
                  <a:lumMod val="6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5943282" y="2101770"/>
            <a:ext cx="30448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  <a:t>Styremøte 10. mars  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Årsrapport og årsregnskap til KD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Utviklingsavtale med Kunnskapsdepartementet 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Kvalitetsmelding for utdanning inkl. strategisk studieporteføljeutvikling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Årsrapport HMS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Internrevisjonens årsrapport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5433186" y="1026380"/>
            <a:ext cx="371081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  <a:t>Styremøte 25. januar 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Tildelingsbrevet fra KD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Styrets beretning (første behandling)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Periodisert investeringsplan 2022-2025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Kvalitetsmelding for forskning </a:t>
            </a:r>
          </a:p>
          <a:p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Stillings- og resultatkrav i rektors lederavtale</a:t>
            </a:r>
          </a:p>
          <a:p>
            <a:endParaRPr lang="nb-NO" sz="1000"/>
          </a:p>
          <a:p>
            <a:endParaRPr lang="nb-NO" sz="1000"/>
          </a:p>
        </p:txBody>
      </p:sp>
      <p:sp>
        <p:nvSpPr>
          <p:cNvPr id="10" name="Ellipse 9"/>
          <p:cNvSpPr/>
          <p:nvPr/>
        </p:nvSpPr>
        <p:spPr>
          <a:xfrm>
            <a:off x="5515506" y="2563449"/>
            <a:ext cx="361954" cy="226986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11" name="Ellipse 10"/>
          <p:cNvSpPr/>
          <p:nvPr/>
        </p:nvSpPr>
        <p:spPr>
          <a:xfrm>
            <a:off x="3567996" y="2058401"/>
            <a:ext cx="361954" cy="226986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12" name="Ellipse 11"/>
          <p:cNvSpPr/>
          <p:nvPr/>
        </p:nvSpPr>
        <p:spPr>
          <a:xfrm>
            <a:off x="4691487" y="3986650"/>
            <a:ext cx="361954" cy="226986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13" name="Ellipse 12"/>
          <p:cNvSpPr/>
          <p:nvPr/>
        </p:nvSpPr>
        <p:spPr>
          <a:xfrm>
            <a:off x="4687257" y="1740611"/>
            <a:ext cx="361954" cy="226986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14" name="Ellipse 13"/>
          <p:cNvSpPr/>
          <p:nvPr/>
        </p:nvSpPr>
        <p:spPr>
          <a:xfrm>
            <a:off x="4097154" y="1741833"/>
            <a:ext cx="361954" cy="226986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15" name="Ellipse 14"/>
          <p:cNvSpPr/>
          <p:nvPr/>
        </p:nvSpPr>
        <p:spPr>
          <a:xfrm>
            <a:off x="3283476" y="3164396"/>
            <a:ext cx="361954" cy="226986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16" name="TekstSylinder 15"/>
          <p:cNvSpPr txBox="1"/>
          <p:nvPr/>
        </p:nvSpPr>
        <p:spPr>
          <a:xfrm>
            <a:off x="44473" y="3332822"/>
            <a:ext cx="3329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  <a:t>Styremøte 14.-15. september 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Eierstyring, NTNUs selskaper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Likestilling og mangfold ved NTNU</a:t>
            </a:r>
          </a:p>
          <a:p>
            <a:pPr algn="r"/>
            <a:endParaRPr lang="nb-NO" sz="100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TekstSylinder 16"/>
          <p:cNvSpPr txBox="1"/>
          <p:nvPr/>
        </p:nvSpPr>
        <p:spPr>
          <a:xfrm>
            <a:off x="1454538" y="1089120"/>
            <a:ext cx="31922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  <a:t>Styremøte 30.november og 1. desember 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Årsplan og rammefordeling og langtidsperioden</a:t>
            </a:r>
          </a:p>
          <a:p>
            <a:pPr algn="r"/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Opptaksrammefordeling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2A98155E-5CBA-496E-BE6D-07A7782BE984}"/>
              </a:ext>
            </a:extLst>
          </p:cNvPr>
          <p:cNvSpPr/>
          <p:nvPr/>
        </p:nvSpPr>
        <p:spPr>
          <a:xfrm>
            <a:off x="4293430" y="2683181"/>
            <a:ext cx="606012" cy="5674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37752B15-B87A-4FF6-879F-2A4EA3E25FBC}"/>
              </a:ext>
            </a:extLst>
          </p:cNvPr>
          <p:cNvSpPr txBox="1"/>
          <p:nvPr/>
        </p:nvSpPr>
        <p:spPr>
          <a:xfrm>
            <a:off x="5770063" y="3501671"/>
            <a:ext cx="19603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  <a:t>Styremøte 5. mai 2022: </a:t>
            </a:r>
            <a:br>
              <a:rPr lang="nb-NO" sz="1000" b="1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nb-NO" sz="1000">
                <a:latin typeface="Calibri Light" panose="020F0302020204030204" pitchFamily="34" charset="0"/>
                <a:cs typeface="Calibri Light" panose="020F0302020204030204" pitchFamily="34" charset="0"/>
              </a:rPr>
              <a:t>Utviklingsavtale og  sektormål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677D9544-BF16-47A2-92DE-32821F883D72}"/>
              </a:ext>
            </a:extLst>
          </p:cNvPr>
          <p:cNvSpPr/>
          <p:nvPr/>
        </p:nvSpPr>
        <p:spPr>
          <a:xfrm>
            <a:off x="5164481" y="3680277"/>
            <a:ext cx="361954" cy="226986"/>
          </a:xfrm>
          <a:prstGeom prst="ellipse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</p:spTree>
    <p:extLst>
      <p:ext uri="{BB962C8B-B14F-4D97-AF65-F5344CB8AC3E}">
        <p14:creationId xmlns:p14="http://schemas.microsoft.com/office/powerpoint/2010/main" val="21129786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7153310-418D-42D7-AADD-BC73E99DF0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849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7153310-418D-42D7-AADD-BC73E99DF0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>
          <a:xfrm>
            <a:off x="0" y="4676361"/>
            <a:ext cx="9144000" cy="46713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8967820"/>
              </p:ext>
            </p:extLst>
          </p:nvPr>
        </p:nvGraphicFramePr>
        <p:xfrm>
          <a:off x="253044" y="1054210"/>
          <a:ext cx="8604533" cy="3680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7578">
                  <a:extLst>
                    <a:ext uri="{9D8B030D-6E8A-4147-A177-3AD203B41FA5}">
                      <a16:colId xmlns:a16="http://schemas.microsoft.com/office/drawing/2014/main" val="2323419809"/>
                    </a:ext>
                  </a:extLst>
                </a:gridCol>
                <a:gridCol w="3316104">
                  <a:extLst>
                    <a:ext uri="{9D8B030D-6E8A-4147-A177-3AD203B41FA5}">
                      <a16:colId xmlns:a16="http://schemas.microsoft.com/office/drawing/2014/main" val="3762452782"/>
                    </a:ext>
                  </a:extLst>
                </a:gridCol>
                <a:gridCol w="715108">
                  <a:extLst>
                    <a:ext uri="{9D8B030D-6E8A-4147-A177-3AD203B41FA5}">
                      <a16:colId xmlns:a16="http://schemas.microsoft.com/office/drawing/2014/main" val="582815280"/>
                    </a:ext>
                  </a:extLst>
                </a:gridCol>
                <a:gridCol w="568569">
                  <a:extLst>
                    <a:ext uri="{9D8B030D-6E8A-4147-A177-3AD203B41FA5}">
                      <a16:colId xmlns:a16="http://schemas.microsoft.com/office/drawing/2014/main" val="3321513986"/>
                    </a:ext>
                  </a:extLst>
                </a:gridCol>
                <a:gridCol w="3417174">
                  <a:extLst>
                    <a:ext uri="{9D8B030D-6E8A-4147-A177-3AD203B41FA5}">
                      <a16:colId xmlns:a16="http://schemas.microsoft.com/office/drawing/2014/main" val="2361896984"/>
                    </a:ext>
                  </a:extLst>
                </a:gridCol>
              </a:tblGrid>
              <a:tr h="115431">
                <a:tc>
                  <a:txBody>
                    <a:bodyPr/>
                    <a:lstStyle/>
                    <a:p>
                      <a:r>
                        <a:rPr lang="nb-NO" sz="700"/>
                        <a:t>Måne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Leverans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Fris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Ansvarli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Formål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82012590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Ja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Styresak 25. januar: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Tildelingsbrev fra KD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2. jan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Orientering til styre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4867009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Internregnskapet for 2021 er ferdig og rapporter kan tas u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4. jan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Ø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01666879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Rapportering økonomistyring 202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21.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januar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Rapportering til rektor,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grunnlag for styresak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4206746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Strategioppfølging og øvrig årsrapportering</a:t>
                      </a:r>
                      <a:endParaRPr lang="nb-NO" sz="700" err="1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28. jan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A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Rapportering til rektor,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grunnlag for styresaker og årsrapport til KD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87750337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e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Endelig frist årsbudsjett 2022 og LTB 2022-2025 runde 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9. Febr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Årsbudsjett 2022 og oppdatering LTB-3 etter endelig tildeling og årsavslutn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16613172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Årsregnskap til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DBH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0. febr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Ø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Rapporter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3608456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Årsrapportering data til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DBH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5. febr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Rapportering, grunnlag for årsrappor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08957096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Ma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Styresak 10. mars: Årsrapport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og årsregnskap for 2021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3. ma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Rapporter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11473724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Innsendelse av «Årsrapport 2021» til K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5. ma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Grunnla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for styringsdialogen med KD og kunnskapsgrunnlag for planer 2023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59243308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Apri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Rektors dialogmøter med fakulteten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Uke 13/1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 m.fl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61035449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rist for å melde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utviklingsbaner på resultatindikatorene i RFM, samt årsverksutvikling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. apri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A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Grunnla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for foreløpig rammefordeling (RFM)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04980686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 i="1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i="0">
                          <a:solidFill>
                            <a:schemeClr val="tx1"/>
                          </a:solidFill>
                        </a:rPr>
                        <a:t>Utsendelse av foreløpig rammefordel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i="0">
                          <a:solidFill>
                            <a:schemeClr val="tx1"/>
                          </a:solidFill>
                        </a:rPr>
                        <a:t>8. apri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i="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i="0">
                          <a:solidFill>
                            <a:schemeClr val="tx1"/>
                          </a:solidFill>
                        </a:rPr>
                        <a:t>Planleggingsgrunnlag</a:t>
                      </a:r>
                      <a:r>
                        <a:rPr lang="nb-NO" sz="700" i="0" baseline="0">
                          <a:solidFill>
                            <a:schemeClr val="tx1"/>
                          </a:solidFill>
                        </a:rPr>
                        <a:t> for Fakultetene/VM og AVD</a:t>
                      </a:r>
                      <a:endParaRPr lang="nb-NO" sz="700" i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138138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700" i="0">
                          <a:solidFill>
                            <a:schemeClr val="tx1"/>
                          </a:solidFill>
                        </a:rPr>
                        <a:t>Ma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i="0">
                          <a:solidFill>
                            <a:schemeClr val="tx1"/>
                          </a:solidFill>
                        </a:rPr>
                        <a:t>RNB legges fra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i="0">
                          <a:solidFill>
                            <a:schemeClr val="tx1"/>
                          </a:solidFill>
                        </a:rPr>
                        <a:t>12.ma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i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i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7967217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nb-NO" sz="700" i="1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Plan- o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budsjettseminar</a:t>
                      </a: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 for dekanmøtet m.fl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Ma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Prioriteringer for 2022, grunnlag styresak om planleggingsrammer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47363674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somhetsrapport 1.tertial, strategi og økonom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20. ma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Statusrapportering til rektor, grunnla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styresak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88457963"/>
                  </a:ext>
                </a:extLst>
              </a:tr>
              <a:tr h="151272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Jun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Langtidsbudsjett 2023-2026 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runde 1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. jun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AK og 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Lokale planleggingsrammer og grunnlag for </a:t>
                      </a: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helhetli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økonomistyring NTNU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76733877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Investeringspla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. jun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AK og 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66871184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Styresak 20. juni: Virksomhetsrapport, 1. tertial, samt prognoser for langtidsperiod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. jun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Statusrapporterin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til styret om status for NTNUs årsplan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7069006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Styresak 20. juni: Planleggingsrammer 2023 og langtidsperiode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. jun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Planleggingsgrunnla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  <a:latin typeface="+mn-lt"/>
                        </a:rPr>
                        <a:t> for organisasjonen</a:t>
                      </a:r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21429290"/>
                  </a:ext>
                </a:extLst>
              </a:tr>
              <a:tr h="115431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Økonomioppfølgingsmøter med fakultetene og FA driftsenhet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jun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Tema: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Status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etter 1. tertial og langtidsbudsjett runde 1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62032795"/>
                  </a:ext>
                </a:extLst>
              </a:tr>
            </a:tbl>
          </a:graphicData>
        </a:graphic>
      </p:graphicFrame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487130"/>
              </p:ext>
            </p:extLst>
          </p:nvPr>
        </p:nvGraphicFramePr>
        <p:xfrm>
          <a:off x="6950195" y="80058"/>
          <a:ext cx="1907382" cy="84743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57213">
                  <a:extLst>
                    <a:ext uri="{9D8B030D-6E8A-4147-A177-3AD203B41FA5}">
                      <a16:colId xmlns:a16="http://schemas.microsoft.com/office/drawing/2014/main" val="2969464655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val="3427422909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orkortels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Hvem?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48363935"/>
                  </a:ext>
                </a:extLst>
              </a:tr>
              <a:tr h="183689">
                <a:tc>
                  <a:txBody>
                    <a:bodyPr/>
                    <a:lstStyle/>
                    <a:p>
                      <a:r>
                        <a:rPr lang="nb-NO" sz="600"/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Avdeling for virksomhetsstyr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8853640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A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Fakultetene og musee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87023174"/>
                  </a:ext>
                </a:extLst>
              </a:tr>
              <a:tr h="183689">
                <a:tc>
                  <a:txBody>
                    <a:bodyPr/>
                    <a:lstStyle/>
                    <a:p>
                      <a:r>
                        <a:rPr lang="nb-NO" sz="600"/>
                        <a:t>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Avdelingene i Fellesadministrasjone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2800382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Ø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600"/>
                        <a:t>Økonomiavdelinge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60771465"/>
                  </a:ext>
                </a:extLst>
              </a:tr>
            </a:tbl>
          </a:graphicData>
        </a:graphic>
      </p:graphicFrame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tyringshjul vår 2022</a:t>
            </a:r>
          </a:p>
        </p:txBody>
      </p:sp>
    </p:spTree>
    <p:extLst>
      <p:ext uri="{BB962C8B-B14F-4D97-AF65-F5344CB8AC3E}">
        <p14:creationId xmlns:p14="http://schemas.microsoft.com/office/powerpoint/2010/main" val="815681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5EAF51-1B70-49CA-8184-6A2DCCBB92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505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5EAF51-1B70-49CA-8184-6A2DCCBB9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>
          <a:xfrm>
            <a:off x="0" y="4676361"/>
            <a:ext cx="9144000" cy="46713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6189785" cy="857250"/>
          </a:xfrm>
        </p:spPr>
        <p:txBody>
          <a:bodyPr vert="horz">
            <a:normAutofit/>
          </a:bodyPr>
          <a:lstStyle/>
          <a:p>
            <a:r>
              <a:rPr lang="nb-NO"/>
              <a:t>Styringshjul høst 2022 </a:t>
            </a:r>
            <a:endParaRPr lang="nb-NO" sz="2200">
              <a:solidFill>
                <a:srgbClr val="FF0000"/>
              </a:solidFill>
            </a:endParaRPr>
          </a:p>
        </p:txBody>
      </p:sp>
      <p:graphicFrame>
        <p:nvGraphicFramePr>
          <p:cNvPr id="8" name="Plassholder for inn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2575161"/>
              </p:ext>
            </p:extLst>
          </p:nvPr>
        </p:nvGraphicFramePr>
        <p:xfrm>
          <a:off x="269733" y="994362"/>
          <a:ext cx="8604533" cy="3855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6107">
                  <a:extLst>
                    <a:ext uri="{9D8B030D-6E8A-4147-A177-3AD203B41FA5}">
                      <a16:colId xmlns:a16="http://schemas.microsoft.com/office/drawing/2014/main" val="2323419809"/>
                    </a:ext>
                  </a:extLst>
                </a:gridCol>
                <a:gridCol w="3337801">
                  <a:extLst>
                    <a:ext uri="{9D8B030D-6E8A-4147-A177-3AD203B41FA5}">
                      <a16:colId xmlns:a16="http://schemas.microsoft.com/office/drawing/2014/main" val="3762452782"/>
                    </a:ext>
                  </a:extLst>
                </a:gridCol>
                <a:gridCol w="776798">
                  <a:extLst>
                    <a:ext uri="{9D8B030D-6E8A-4147-A177-3AD203B41FA5}">
                      <a16:colId xmlns:a16="http://schemas.microsoft.com/office/drawing/2014/main" val="582815280"/>
                    </a:ext>
                  </a:extLst>
                </a:gridCol>
                <a:gridCol w="846511">
                  <a:extLst>
                    <a:ext uri="{9D8B030D-6E8A-4147-A177-3AD203B41FA5}">
                      <a16:colId xmlns:a16="http://schemas.microsoft.com/office/drawing/2014/main" val="3321513986"/>
                    </a:ext>
                  </a:extLst>
                </a:gridCol>
                <a:gridCol w="3077316">
                  <a:extLst>
                    <a:ext uri="{9D8B030D-6E8A-4147-A177-3AD203B41FA5}">
                      <a16:colId xmlns:a16="http://schemas.microsoft.com/office/drawing/2014/main" val="2361896984"/>
                    </a:ext>
                  </a:extLst>
                </a:gridCol>
              </a:tblGrid>
              <a:tr h="147445">
                <a:tc>
                  <a:txBody>
                    <a:bodyPr/>
                    <a:lstStyle/>
                    <a:p>
                      <a:r>
                        <a:rPr lang="nb-NO" sz="700">
                          <a:latin typeface="+mn-lt"/>
                        </a:rPr>
                        <a:t>Måne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latin typeface="+mn-lt"/>
                        </a:rPr>
                        <a:t>Leverans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latin typeface="+mn-lt"/>
                        </a:rPr>
                        <a:t>Fris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latin typeface="+mn-lt"/>
                        </a:rPr>
                        <a:t>Ansvarli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latin typeface="+mn-lt"/>
                        </a:rPr>
                        <a:t>Formål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82012590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Sept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Styremøte 14.-15. sept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36378266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Sept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Frist for levering av Virksomhetsrapport 2.tertial, strategi og økonom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23. september 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Statusrapportering til Rektor, grunnla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  <a:latin typeface="+mn-lt"/>
                        </a:rPr>
                        <a:t> styresak</a:t>
                      </a:r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4867009"/>
                  </a:ext>
                </a:extLst>
              </a:tr>
              <a:tr h="1568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Frist for å melde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utviklingsbaner på resultatindikatorene i RFM, samt årsverksutvikling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30. sept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Budsjettunderla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719414200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Statsbudsjettet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legges frem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6. 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orslag til bevilgning og prioriteringer for 202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23624448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yresak 3. november: Orientering om statsbudsjettet for 2023</a:t>
                      </a:r>
                      <a:endParaRPr lang="nb-NO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 strike="noStrike">
                          <a:solidFill>
                            <a:schemeClr val="tx1"/>
                          </a:solidFill>
                          <a:latin typeface="+mn-lt"/>
                        </a:rPr>
                        <a:t>14.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 strike="noStrike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Informasjon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til styret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70748021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yresak 3. november: Virksomhetsrapport, 2. tertial</a:t>
                      </a:r>
                      <a:endParaRPr lang="nb-NO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 strike="noStrike">
                          <a:solidFill>
                            <a:schemeClr val="tx1"/>
                          </a:solidFill>
                          <a:latin typeface="+mn-lt"/>
                        </a:rPr>
                        <a:t>14.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Statusrapportering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til styret på NTNUs årsplan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4206746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Styresak </a:t>
                      </a:r>
                      <a:r>
                        <a:rPr lang="nb-NO" sz="7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 november</a:t>
                      </a: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: Budsjettforslag til KD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for 2024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 strike="noStrike">
                          <a:solidFill>
                            <a:schemeClr val="tx1"/>
                          </a:solidFill>
                          <a:latin typeface="+mn-lt"/>
                        </a:rPr>
                        <a:t>14.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Innspill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til arbeidet med statsbudsjettet for 2022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85384244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pdatert rammefordeling 2023 og for LTB 2023-202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14.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Planleggingsgrunnlag for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årsbudsjett og langtidsbudsjett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96271299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ist langtidsbudsjett</a:t>
                      </a: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 2023-2026</a:t>
                      </a:r>
                      <a:r>
                        <a:rPr lang="nb-NO" sz="7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unde 2</a:t>
                      </a:r>
                      <a:endParaRPr lang="nb-NO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26.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Grunnlag for langsiktig, lokal styring og </a:t>
                      </a:r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helhetlig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økonomistyring NTNU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99089508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Investeringspla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26. okto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19449318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Nov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Budsjettsemin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15170290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Økonomioppfølgingsmøter med fakultetene og FA driftsenhet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nov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Tema: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Status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etter 2. tertial og langtidsbudsjett runde 2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12690207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Styresak 1./2. desember: Årsplan og rammefordeling for 2022 og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langtidsperioden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17. nov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elles prioriteringer for NTNU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26270636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Des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rist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for godkjenning av langtidsbudsjetter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1. des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Helhetlig økonomistyring NTNU og rammer for FAK/AVD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40697891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ist for levering av årsbudsjett 2023</a:t>
                      </a:r>
                      <a:endParaRPr lang="nb-NO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7.</a:t>
                      </a:r>
                      <a:r>
                        <a:rPr lang="nb-NO" sz="700" b="0" baseline="0">
                          <a:solidFill>
                            <a:schemeClr val="tx1"/>
                          </a:solidFill>
                          <a:latin typeface="+mn-lt"/>
                        </a:rPr>
                        <a:t> Desember</a:t>
                      </a:r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13647867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Investeringspla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7. desemb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22540283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>
                          <a:solidFill>
                            <a:schemeClr val="tx1"/>
                          </a:solidFill>
                          <a:latin typeface="+mn-lt"/>
                        </a:rPr>
                        <a:t>Jan. 202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rist for oversendelse av planer for 202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15. jan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805571737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Investeringsplan endelig frist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9. januar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1914113226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Årsbudsjett 2023, endelig frist 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25. Januar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 anchor="b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Oppdatering etter endelig tildeling og årsavslutning</a:t>
                      </a:r>
                    </a:p>
                  </a:txBody>
                  <a:tcPr marL="68580" marR="68580" marT="34290" marB="34290" anchor="b"/>
                </a:tc>
                <a:extLst>
                  <a:ext uri="{0D108BD9-81ED-4DB2-BD59-A6C34878D82A}">
                    <a16:rowId xmlns:a16="http://schemas.microsoft.com/office/drawing/2014/main" val="2608957096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Langtidsbudsjett 2023-202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25. janua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FAK/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Oppdatering etter endelig tildeling og årsavslutn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74890949"/>
                  </a:ext>
                </a:extLst>
              </a:tr>
              <a:tr h="147445">
                <a:tc>
                  <a:txBody>
                    <a:bodyPr/>
                    <a:lstStyle/>
                    <a:p>
                      <a:endParaRPr lang="nb-NO" sz="7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Tildelingsbrev til fakultetene, VM og F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 b="0">
                          <a:solidFill>
                            <a:schemeClr val="tx1"/>
                          </a:solidFill>
                          <a:latin typeface="+mn-lt"/>
                        </a:rPr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7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11991501"/>
                  </a:ext>
                </a:extLst>
              </a:tr>
            </a:tbl>
          </a:graphicData>
        </a:graphic>
      </p:graphicFrame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2346870"/>
              </p:ext>
            </p:extLst>
          </p:nvPr>
        </p:nvGraphicFramePr>
        <p:xfrm>
          <a:off x="6950195" y="80058"/>
          <a:ext cx="1907382" cy="84743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57213">
                  <a:extLst>
                    <a:ext uri="{9D8B030D-6E8A-4147-A177-3AD203B41FA5}">
                      <a16:colId xmlns:a16="http://schemas.microsoft.com/office/drawing/2014/main" val="2969464655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val="3427422909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orkortels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Hvem?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48363935"/>
                  </a:ext>
                </a:extLst>
              </a:tr>
              <a:tr h="183689">
                <a:tc>
                  <a:txBody>
                    <a:bodyPr/>
                    <a:lstStyle/>
                    <a:p>
                      <a:r>
                        <a:rPr lang="nb-NO" sz="600"/>
                        <a:t>VIR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Avdeling for virksomhetsstyrin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8853640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FA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Fakultetene og musee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87023174"/>
                  </a:ext>
                </a:extLst>
              </a:tr>
              <a:tr h="183689">
                <a:tc>
                  <a:txBody>
                    <a:bodyPr/>
                    <a:lstStyle/>
                    <a:p>
                      <a:r>
                        <a:rPr lang="nb-NO" sz="600"/>
                        <a:t>AV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600"/>
                        <a:t>Avdelingene i Fellesadministrasjone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2800382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ØK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600"/>
                        <a:t>Økonomiavdelinge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60771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6268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C61B66-493D-4823-960A-5FF035995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Økonomisk </a:t>
            </a:r>
            <a:r>
              <a:rPr lang="nb-NO" err="1"/>
              <a:t>årsprognose</a:t>
            </a:r>
            <a:endParaRPr lang="nb-NO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9EAF9E5-6617-4886-A9FD-D098A825EB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Leveres i gitte måneder</a:t>
            </a:r>
          </a:p>
          <a:p>
            <a:r>
              <a:rPr lang="nb-NO"/>
              <a:t>Leveres/registreres i BEVISST plan innen </a:t>
            </a:r>
            <a:r>
              <a:rPr lang="nb-NO" err="1"/>
              <a:t>kl</a:t>
            </a:r>
            <a:r>
              <a:rPr lang="nb-NO"/>
              <a:t> 15:00 på fristdagen. 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F532B56-BA66-447C-8474-5755B0EA57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951767"/>
              </p:ext>
            </p:extLst>
          </p:nvPr>
        </p:nvGraphicFramePr>
        <p:xfrm>
          <a:off x="5516577" y="1028463"/>
          <a:ext cx="2948412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3232">
                  <a:extLst>
                    <a:ext uri="{9D8B030D-6E8A-4147-A177-3AD203B41FA5}">
                      <a16:colId xmlns:a16="http://schemas.microsoft.com/office/drawing/2014/main" val="307656297"/>
                    </a:ext>
                  </a:extLst>
                </a:gridCol>
                <a:gridCol w="1385180">
                  <a:extLst>
                    <a:ext uri="{9D8B030D-6E8A-4147-A177-3AD203B41FA5}">
                      <a16:colId xmlns:a16="http://schemas.microsoft.com/office/drawing/2014/main" val="1510532974"/>
                    </a:ext>
                  </a:extLst>
                </a:gridCol>
              </a:tblGrid>
              <a:tr h="259359">
                <a:tc>
                  <a:txBody>
                    <a:bodyPr/>
                    <a:lstStyle/>
                    <a:p>
                      <a:r>
                        <a:rPr lang="nb-NO" sz="1200"/>
                        <a:t>Må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Fri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042226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Jan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5668105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Febru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094774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M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21. ma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2139584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Apr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21. apr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5141060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M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20. ma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6228520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Ju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14. jun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6587820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Ju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341808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Augu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24. augu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8359626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Sept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23. septe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0491091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Okto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18. okto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7989216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Nov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14. nove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4432934"/>
                  </a:ext>
                </a:extLst>
              </a:tr>
              <a:tr h="244710">
                <a:tc>
                  <a:txBody>
                    <a:bodyPr/>
                    <a:lstStyle/>
                    <a:p>
                      <a:r>
                        <a:rPr lang="nb-NO" sz="1200"/>
                        <a:t>Des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14. desemb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771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7109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1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E4290FC7692147B9D13B395E8DFFBD" ma:contentTypeVersion="6" ma:contentTypeDescription="Create a new document." ma:contentTypeScope="" ma:versionID="9c6a228a97b2849549e6812ee8bb0c78">
  <xsd:schema xmlns:xsd="http://www.w3.org/2001/XMLSchema" xmlns:xs="http://www.w3.org/2001/XMLSchema" xmlns:p="http://schemas.microsoft.com/office/2006/metadata/properties" xmlns:ns2="44a920d5-4624-419b-b533-4838acbdb760" xmlns:ns3="e0f24fd2-d83c-4673-a67f-3e4fbba454fc" targetNamespace="http://schemas.microsoft.com/office/2006/metadata/properties" ma:root="true" ma:fieldsID="7662737fd31549c5b2df818062c79229" ns2:_="" ns3:_="">
    <xsd:import namespace="44a920d5-4624-419b-b533-4838acbdb760"/>
    <xsd:import namespace="e0f24fd2-d83c-4673-a67f-3e4fbba454f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a920d5-4624-419b-b533-4838acbdb7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24fd2-d83c-4673-a67f-3e4fbba454f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685C998-24B9-4060-AE24-83D04F7BA1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38DCA5-3DC8-48CE-892C-53E98AEFB77F}">
  <ds:schemaRefs>
    <ds:schemaRef ds:uri="44a920d5-4624-419b-b533-4838acbdb760"/>
    <ds:schemaRef ds:uri="e0f24fd2-d83c-4673-a67f-3e4fbba454f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AACF365-DC9E-4670-A55A-B83E25CD776A}">
  <ds:schemaRefs>
    <ds:schemaRef ds:uri="44a920d5-4624-419b-b533-4838acbdb760"/>
    <ds:schemaRef ds:uri="e0f24fd2-d83c-4673-a67f-3e4fbba454f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Application>Microsoft Office PowerPoint</Application>
  <PresentationFormat>On-screen Show (16:9)</PresentationFormat>
  <Slides>5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Office-tema</vt:lpstr>
      <vt:lpstr>Styringshjulet 2022  for plan, budsjett og oppfølgingsprosessen</vt:lpstr>
      <vt:lpstr>NTNUs styre: møtedatoer i 2022 Foreløpig oversikt over faste saker</vt:lpstr>
      <vt:lpstr>Styringshjul vår 2022</vt:lpstr>
      <vt:lpstr>Styringshjul høst 2022 </vt:lpstr>
      <vt:lpstr>Økonomisk årsprognose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derlagsmateriale til Plan- og budsjettseminar</dc:title>
  <dc:creator>Marianne Lyngdal Dyresen</dc:creator>
  <cp:revision>1</cp:revision>
  <cp:lastPrinted>2018-08-28T09:02:06Z</cp:lastPrinted>
  <dcterms:created xsi:type="dcterms:W3CDTF">2018-04-19T08:06:19Z</dcterms:created>
  <dcterms:modified xsi:type="dcterms:W3CDTF">2022-02-08T09:2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E4290FC7692147B9D13B395E8DFFBD</vt:lpwstr>
  </property>
</Properties>
</file>